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2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229" r:id="rId4"/>
    <p:sldMasterId id="2147484666" r:id="rId5"/>
    <p:sldMasterId id="2147484714" r:id="rId6"/>
    <p:sldMasterId id="2147484746" r:id="rId7"/>
  </p:sldMasterIdLst>
  <p:notesMasterIdLst>
    <p:notesMasterId r:id="rId19"/>
  </p:notesMasterIdLst>
  <p:handoutMasterIdLst>
    <p:handoutMasterId r:id="rId20"/>
  </p:handoutMasterIdLst>
  <p:sldIdLst>
    <p:sldId id="1879" r:id="rId8"/>
    <p:sldId id="1880" r:id="rId9"/>
    <p:sldId id="1888" r:id="rId10"/>
    <p:sldId id="1881" r:id="rId11"/>
    <p:sldId id="1882" r:id="rId12"/>
    <p:sldId id="1890" r:id="rId13"/>
    <p:sldId id="1885" r:id="rId14"/>
    <p:sldId id="1886" r:id="rId15"/>
    <p:sldId id="1887" r:id="rId16"/>
    <p:sldId id="1889" r:id="rId17"/>
    <p:sldId id="1884" r:id="rId18"/>
  </p:sldIdLst>
  <p:sldSz cx="12192000" cy="6858000"/>
  <p:notesSz cx="6858000" cy="9144000"/>
  <p:defaultTextStyle>
    <a:defPPr>
      <a:defRPr lang="en-US"/>
    </a:defPPr>
    <a:lvl1pPr marL="0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1pPr>
    <a:lvl2pPr marL="457183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2pPr>
    <a:lvl3pPr marL="914367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3pPr>
    <a:lvl4pPr marL="1371550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4pPr>
    <a:lvl5pPr marL="1828734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5pPr>
    <a:lvl6pPr marL="2285918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6pPr>
    <a:lvl7pPr marL="2743101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7pPr>
    <a:lvl8pPr marL="3200284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8pPr>
    <a:lvl9pPr marL="3657469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6D59C8E7-01C1-4601-B70C-AD38539E2636}">
          <p14:sldIdLst>
            <p14:sldId id="1879"/>
            <p14:sldId id="1880"/>
            <p14:sldId id="1888"/>
            <p14:sldId id="1881"/>
            <p14:sldId id="1882"/>
            <p14:sldId id="1890"/>
            <p14:sldId id="1885"/>
            <p14:sldId id="1886"/>
            <p14:sldId id="1887"/>
            <p14:sldId id="1889"/>
            <p14:sldId id="1884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aku Uchikawa" initials="SU" lastIdx="11" clrIdx="0"/>
  <p:cmAuthor id="1" name="Mary Feil-Jacobs" initials="MFJ" lastIdx="43" clrIdx="1"/>
  <p:cmAuthor id="2" name="Monica Lueder" initials="ML" lastIdx="22" clrIdx="2">
    <p:extLst>
      <p:ext uri="{19B8F6BF-5375-455C-9EA6-DF929625EA0E}">
        <p15:presenceInfo xmlns:p15="http://schemas.microsoft.com/office/powerpoint/2012/main" userId="S-1-5-21-2127521184-1604012920-1887927527-2598260" providerId="AD"/>
      </p:ext>
    </p:extLst>
  </p:cmAuthor>
  <p:cmAuthor id="3" name="Mary Feil-Jacobs" initials="MF" lastIdx="28" clrIdx="3">
    <p:extLst>
      <p:ext uri="{19B8F6BF-5375-455C-9EA6-DF929625EA0E}">
        <p15:presenceInfo xmlns:p15="http://schemas.microsoft.com/office/powerpoint/2012/main" userId="S-1-5-21-2127521184-1604012920-1887927527-65006" providerId="AD"/>
      </p:ext>
    </p:extLst>
  </p:cmAuthor>
  <p:cmAuthor id="4" name="Travis Nesse" initials="TN" lastIdx="313" clrIdx="4">
    <p:extLst>
      <p:ext uri="{19B8F6BF-5375-455C-9EA6-DF929625EA0E}">
        <p15:presenceInfo xmlns:p15="http://schemas.microsoft.com/office/powerpoint/2012/main" userId="Travis Nesse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8D4"/>
    <a:srgbClr val="282828"/>
    <a:srgbClr val="FFFFFF"/>
    <a:srgbClr val="000000"/>
    <a:srgbClr val="1A1A1A"/>
    <a:srgbClr val="107C10"/>
    <a:srgbClr val="EAEAEA"/>
    <a:srgbClr val="004B50"/>
    <a:srgbClr val="008272"/>
    <a:srgbClr val="00BC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6C677D1-A53A-4D35-ABC5-72B65CBE4E79}" v="173" dt="2019-02-03T21:28:02.01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0859" autoAdjust="0"/>
  </p:normalViewPr>
  <p:slideViewPr>
    <p:cSldViewPr snapToGrid="0">
      <p:cViewPr varScale="1">
        <p:scale>
          <a:sx n="88" d="100"/>
          <a:sy n="88" d="100"/>
        </p:scale>
        <p:origin x="1434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743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viewProps" Target="viewProps.xml"/><Relationship Id="rId10" Type="http://schemas.openxmlformats.org/officeDocument/2006/relationships/slide" Target="slides/slide3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presProps" Target="presProps.xml"/><Relationship Id="rId27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eve Michelotti" userId="d931a2ef-fd87-4133-be5c-97892002e8cf" providerId="ADAL" clId="{F6C677D1-A53A-4D35-ABC5-72B65CBE4E79}"/>
    <pc:docChg chg="undo custSel addSld delSld modSld sldOrd delSection modSection">
      <pc:chgData name="Steve Michelotti" userId="d931a2ef-fd87-4133-be5c-97892002e8cf" providerId="ADAL" clId="{F6C677D1-A53A-4D35-ABC5-72B65CBE4E79}" dt="2019-02-03T22:04:39.571" v="2215" actId="20577"/>
      <pc:docMkLst>
        <pc:docMk/>
      </pc:docMkLst>
      <pc:sldChg chg="addSp add modTransition">
        <pc:chgData name="Steve Michelotti" userId="d931a2ef-fd87-4133-be5c-97892002e8cf" providerId="ADAL" clId="{F6C677D1-A53A-4D35-ABC5-72B65CBE4E79}" dt="2019-01-30T18:42:04.108" v="2062"/>
        <pc:sldMkLst>
          <pc:docMk/>
          <pc:sldMk cId="1553912186" sldId="274"/>
        </pc:sldMkLst>
        <pc:picChg chg="add">
          <ac:chgData name="Steve Michelotti" userId="d931a2ef-fd87-4133-be5c-97892002e8cf" providerId="ADAL" clId="{F6C677D1-A53A-4D35-ABC5-72B65CBE4E79}" dt="2019-01-30T18:42:04.108" v="2062"/>
          <ac:picMkLst>
            <pc:docMk/>
            <pc:sldMk cId="1553912186" sldId="274"/>
            <ac:picMk id="22" creationId="{57199B6F-2A6B-467E-96C2-BFDBA1E30B79}"/>
          </ac:picMkLst>
        </pc:picChg>
      </pc:sldChg>
      <pc:sldChg chg="add">
        <pc:chgData name="Steve Michelotti" userId="d931a2ef-fd87-4133-be5c-97892002e8cf" providerId="ADAL" clId="{F6C677D1-A53A-4D35-ABC5-72B65CBE4E79}" dt="2019-01-30T14:19:51.511" v="635"/>
        <pc:sldMkLst>
          <pc:docMk/>
          <pc:sldMk cId="3309724102" sldId="358"/>
        </pc:sldMkLst>
      </pc:sldChg>
      <pc:sldChg chg="add del">
        <pc:chgData name="Steve Michelotti" userId="d931a2ef-fd87-4133-be5c-97892002e8cf" providerId="ADAL" clId="{F6C677D1-A53A-4D35-ABC5-72B65CBE4E79}" dt="2019-01-30T14:09:07.403" v="465"/>
        <pc:sldMkLst>
          <pc:docMk/>
          <pc:sldMk cId="1046815208" sldId="642"/>
        </pc:sldMkLst>
      </pc:sldChg>
      <pc:sldChg chg="add">
        <pc:chgData name="Steve Michelotti" userId="d931a2ef-fd87-4133-be5c-97892002e8cf" providerId="ADAL" clId="{F6C677D1-A53A-4D35-ABC5-72B65CBE4E79}" dt="2019-01-30T15:15:54.580" v="1286"/>
        <pc:sldMkLst>
          <pc:docMk/>
          <pc:sldMk cId="372585323" sldId="681"/>
        </pc:sldMkLst>
      </pc:sldChg>
      <pc:sldChg chg="add">
        <pc:chgData name="Steve Michelotti" userId="d931a2ef-fd87-4133-be5c-97892002e8cf" providerId="ADAL" clId="{F6C677D1-A53A-4D35-ABC5-72B65CBE4E79}" dt="2019-01-30T15:15:54.580" v="1286"/>
        <pc:sldMkLst>
          <pc:docMk/>
          <pc:sldMk cId="1231719985" sldId="761"/>
        </pc:sldMkLst>
      </pc:sldChg>
      <pc:sldChg chg="add ord">
        <pc:chgData name="Steve Michelotti" userId="d931a2ef-fd87-4133-be5c-97892002e8cf" providerId="ADAL" clId="{F6C677D1-A53A-4D35-ABC5-72B65CBE4E79}" dt="2019-01-30T14:51:44.881" v="779"/>
        <pc:sldMkLst>
          <pc:docMk/>
          <pc:sldMk cId="3568718606" sldId="770"/>
        </pc:sldMkLst>
      </pc:sldChg>
      <pc:sldChg chg="add">
        <pc:chgData name="Steve Michelotti" userId="d931a2ef-fd87-4133-be5c-97892002e8cf" providerId="ADAL" clId="{F6C677D1-A53A-4D35-ABC5-72B65CBE4E79}" dt="2019-01-30T14:46:21.437" v="730"/>
        <pc:sldMkLst>
          <pc:docMk/>
          <pc:sldMk cId="1347280833" sldId="781"/>
        </pc:sldMkLst>
      </pc:sldChg>
      <pc:sldChg chg="add">
        <pc:chgData name="Steve Michelotti" userId="d931a2ef-fd87-4133-be5c-97892002e8cf" providerId="ADAL" clId="{F6C677D1-A53A-4D35-ABC5-72B65CBE4E79}" dt="2019-01-30T14:55:48.103" v="1013"/>
        <pc:sldMkLst>
          <pc:docMk/>
          <pc:sldMk cId="2835380649" sldId="786"/>
        </pc:sldMkLst>
      </pc:sldChg>
      <pc:sldChg chg="add">
        <pc:chgData name="Steve Michelotti" userId="d931a2ef-fd87-4133-be5c-97892002e8cf" providerId="ADAL" clId="{F6C677D1-A53A-4D35-ABC5-72B65CBE4E79}" dt="2019-01-30T15:31:34.379" v="1361"/>
        <pc:sldMkLst>
          <pc:docMk/>
          <pc:sldMk cId="1503321589" sldId="834"/>
        </pc:sldMkLst>
      </pc:sldChg>
      <pc:sldChg chg="add">
        <pc:chgData name="Steve Michelotti" userId="d931a2ef-fd87-4133-be5c-97892002e8cf" providerId="ADAL" clId="{F6C677D1-A53A-4D35-ABC5-72B65CBE4E79}" dt="2019-01-30T15:15:54.580" v="1286"/>
        <pc:sldMkLst>
          <pc:docMk/>
          <pc:sldMk cId="2789611749" sldId="855"/>
        </pc:sldMkLst>
      </pc:sldChg>
      <pc:sldChg chg="add modTransition">
        <pc:chgData name="Steve Michelotti" userId="d931a2ef-fd87-4133-be5c-97892002e8cf" providerId="ADAL" clId="{F6C677D1-A53A-4D35-ABC5-72B65CBE4E79}" dt="2019-01-30T15:35:19.130" v="1424"/>
        <pc:sldMkLst>
          <pc:docMk/>
          <pc:sldMk cId="3752994443" sldId="898"/>
        </pc:sldMkLst>
      </pc:sldChg>
      <pc:sldChg chg="modSp add">
        <pc:chgData name="Steve Michelotti" userId="d931a2ef-fd87-4133-be5c-97892002e8cf" providerId="ADAL" clId="{F6C677D1-A53A-4D35-ABC5-72B65CBE4E79}" dt="2019-01-30T15:34:03.439" v="1381" actId="6549"/>
        <pc:sldMkLst>
          <pc:docMk/>
          <pc:sldMk cId="79727049" sldId="935"/>
        </pc:sldMkLst>
        <pc:spChg chg="mod">
          <ac:chgData name="Steve Michelotti" userId="d931a2ef-fd87-4133-be5c-97892002e8cf" providerId="ADAL" clId="{F6C677D1-A53A-4D35-ABC5-72B65CBE4E79}" dt="2019-01-30T15:34:03.439" v="1381" actId="6549"/>
          <ac:spMkLst>
            <pc:docMk/>
            <pc:sldMk cId="79727049" sldId="935"/>
            <ac:spMk id="31" creationId="{FAC4E6E4-916C-41AB-BA8B-46384EF67BD6}"/>
          </ac:spMkLst>
        </pc:spChg>
      </pc:sldChg>
      <pc:sldChg chg="modSp add ord">
        <pc:chgData name="Steve Michelotti" userId="d931a2ef-fd87-4133-be5c-97892002e8cf" providerId="ADAL" clId="{F6C677D1-A53A-4D35-ABC5-72B65CBE4E79}" dt="2019-02-03T02:28:41.611" v="2067"/>
        <pc:sldMkLst>
          <pc:docMk/>
          <pc:sldMk cId="246911523" sldId="1551"/>
        </pc:sldMkLst>
        <pc:spChg chg="mod">
          <ac:chgData name="Steve Michelotti" userId="d931a2ef-fd87-4133-be5c-97892002e8cf" providerId="ADAL" clId="{F6C677D1-A53A-4D35-ABC5-72B65CBE4E79}" dt="2019-01-30T18:35:40.307" v="1723" actId="20577"/>
          <ac:spMkLst>
            <pc:docMk/>
            <pc:sldMk cId="246911523" sldId="1551"/>
            <ac:spMk id="138" creationId="{59B189B1-6C94-4223-9EB2-97E42370E11E}"/>
          </ac:spMkLst>
        </pc:spChg>
        <pc:spChg chg="mod">
          <ac:chgData name="Steve Michelotti" userId="d931a2ef-fd87-4133-be5c-97892002e8cf" providerId="ADAL" clId="{F6C677D1-A53A-4D35-ABC5-72B65CBE4E79}" dt="2019-01-30T18:35:23.111" v="1720" actId="6549"/>
          <ac:spMkLst>
            <pc:docMk/>
            <pc:sldMk cId="246911523" sldId="1551"/>
            <ac:spMk id="143" creationId="{C6053B38-8FC9-4769-A939-A4367FA419A5}"/>
          </ac:spMkLst>
        </pc:spChg>
        <pc:spChg chg="mod">
          <ac:chgData name="Steve Michelotti" userId="d931a2ef-fd87-4133-be5c-97892002e8cf" providerId="ADAL" clId="{F6C677D1-A53A-4D35-ABC5-72B65CBE4E79}" dt="2019-01-30T18:04:25.062" v="1695" actId="20577"/>
          <ac:spMkLst>
            <pc:docMk/>
            <pc:sldMk cId="246911523" sldId="1551"/>
            <ac:spMk id="145" creationId="{21551998-7EA4-4A0F-9D0C-2439D031734C}"/>
          </ac:spMkLst>
        </pc:spChg>
        <pc:spChg chg="mod">
          <ac:chgData name="Steve Michelotti" userId="d931a2ef-fd87-4133-be5c-97892002e8cf" providerId="ADAL" clId="{F6C677D1-A53A-4D35-ABC5-72B65CBE4E79}" dt="2019-01-30T18:35:28.680" v="1721" actId="1076"/>
          <ac:spMkLst>
            <pc:docMk/>
            <pc:sldMk cId="246911523" sldId="1551"/>
            <ac:spMk id="155" creationId="{D4CBE999-543B-4969-823F-8D86481C51F7}"/>
          </ac:spMkLst>
        </pc:spChg>
      </pc:sldChg>
      <pc:sldChg chg="add ord">
        <pc:chgData name="Steve Michelotti" userId="d931a2ef-fd87-4133-be5c-97892002e8cf" providerId="ADAL" clId="{F6C677D1-A53A-4D35-ABC5-72B65CBE4E79}" dt="2019-02-03T02:28:28.983" v="2065"/>
        <pc:sldMkLst>
          <pc:docMk/>
          <pc:sldMk cId="2560777322" sldId="1561"/>
        </pc:sldMkLst>
      </pc:sldChg>
      <pc:sldChg chg="modSp">
        <pc:chgData name="Steve Michelotti" userId="d931a2ef-fd87-4133-be5c-97892002e8cf" providerId="ADAL" clId="{F6C677D1-A53A-4D35-ABC5-72B65CBE4E79}" dt="2019-02-03T21:45:16.311" v="2207" actId="20577"/>
        <pc:sldMkLst>
          <pc:docMk/>
          <pc:sldMk cId="4116108056" sldId="1879"/>
        </pc:sldMkLst>
        <pc:spChg chg="mod">
          <ac:chgData name="Steve Michelotti" userId="d931a2ef-fd87-4133-be5c-97892002e8cf" providerId="ADAL" clId="{F6C677D1-A53A-4D35-ABC5-72B65CBE4E79}" dt="2019-01-28T21:25:27.660" v="45" actId="20577"/>
          <ac:spMkLst>
            <pc:docMk/>
            <pc:sldMk cId="4116108056" sldId="1879"/>
            <ac:spMk id="4" creationId="{00000000-0000-0000-0000-000000000000}"/>
          </ac:spMkLst>
        </pc:spChg>
        <pc:spChg chg="mod">
          <ac:chgData name="Steve Michelotti" userId="d931a2ef-fd87-4133-be5c-97892002e8cf" providerId="ADAL" clId="{F6C677D1-A53A-4D35-ABC5-72B65CBE4E79}" dt="2019-02-03T21:45:16.311" v="2207" actId="20577"/>
          <ac:spMkLst>
            <pc:docMk/>
            <pc:sldMk cId="4116108056" sldId="1879"/>
            <ac:spMk id="5" creationId="{00000000-0000-0000-0000-000000000000}"/>
          </ac:spMkLst>
        </pc:spChg>
      </pc:sldChg>
      <pc:sldChg chg="addSp delSp modSp add modTransition">
        <pc:chgData name="Steve Michelotti" userId="d931a2ef-fd87-4133-be5c-97892002e8cf" providerId="ADAL" clId="{F6C677D1-A53A-4D35-ABC5-72B65CBE4E79}" dt="2019-02-03T21:22:03.689" v="2112" actId="1076"/>
        <pc:sldMkLst>
          <pc:docMk/>
          <pc:sldMk cId="1049562837" sldId="1901"/>
        </pc:sldMkLst>
        <pc:spChg chg="del">
          <ac:chgData name="Steve Michelotti" userId="d931a2ef-fd87-4133-be5c-97892002e8cf" providerId="ADAL" clId="{F6C677D1-A53A-4D35-ABC5-72B65CBE4E79}" dt="2019-01-28T21:31:54.586" v="353"/>
          <ac:spMkLst>
            <pc:docMk/>
            <pc:sldMk cId="1049562837" sldId="1901"/>
            <ac:spMk id="2" creationId="{7D29C759-CEDD-473C-B6B0-E9380ADE9D27}"/>
          </ac:spMkLst>
        </pc:spChg>
        <pc:spChg chg="del">
          <ac:chgData name="Steve Michelotti" userId="d931a2ef-fd87-4133-be5c-97892002e8cf" providerId="ADAL" clId="{F6C677D1-A53A-4D35-ABC5-72B65CBE4E79}" dt="2019-01-28T21:31:54.586" v="353"/>
          <ac:spMkLst>
            <pc:docMk/>
            <pc:sldMk cId="1049562837" sldId="1901"/>
            <ac:spMk id="3" creationId="{DA4438D5-EC74-4449-8D11-5A91FA6622B7}"/>
          </ac:spMkLst>
        </pc:spChg>
        <pc:spChg chg="add del mod">
          <ac:chgData name="Steve Michelotti" userId="d931a2ef-fd87-4133-be5c-97892002e8cf" providerId="ADAL" clId="{F6C677D1-A53A-4D35-ABC5-72B65CBE4E79}" dt="2019-01-28T21:32:03.629" v="354"/>
          <ac:spMkLst>
            <pc:docMk/>
            <pc:sldMk cId="1049562837" sldId="1901"/>
            <ac:spMk id="4" creationId="{96FF860F-6CB5-474F-ABC1-0EEA6DE85132}"/>
          </ac:spMkLst>
        </pc:spChg>
        <pc:spChg chg="add del mod">
          <ac:chgData name="Steve Michelotti" userId="d931a2ef-fd87-4133-be5c-97892002e8cf" providerId="ADAL" clId="{F6C677D1-A53A-4D35-ABC5-72B65CBE4E79}" dt="2019-01-28T21:32:03.629" v="354"/>
          <ac:spMkLst>
            <pc:docMk/>
            <pc:sldMk cId="1049562837" sldId="1901"/>
            <ac:spMk id="5" creationId="{B9FC76AE-08D8-41E1-867D-2000DDF595CA}"/>
          </ac:spMkLst>
        </pc:spChg>
        <pc:spChg chg="add">
          <ac:chgData name="Steve Michelotti" userId="d931a2ef-fd87-4133-be5c-97892002e8cf" providerId="ADAL" clId="{F6C677D1-A53A-4D35-ABC5-72B65CBE4E79}" dt="2019-01-30T16:10:52.865" v="1445"/>
          <ac:spMkLst>
            <pc:docMk/>
            <pc:sldMk cId="1049562837" sldId="1901"/>
            <ac:spMk id="5" creationId="{C369D8AB-499C-4275-BBB3-2628C503728D}"/>
          </ac:spMkLst>
        </pc:spChg>
        <pc:spChg chg="add del mod">
          <ac:chgData name="Steve Michelotti" userId="d931a2ef-fd87-4133-be5c-97892002e8cf" providerId="ADAL" clId="{F6C677D1-A53A-4D35-ABC5-72B65CBE4E79}" dt="2019-01-28T21:32:03.629" v="354"/>
          <ac:spMkLst>
            <pc:docMk/>
            <pc:sldMk cId="1049562837" sldId="1901"/>
            <ac:spMk id="6" creationId="{2654F198-8CB6-439D-9E1E-FB337350134B}"/>
          </ac:spMkLst>
        </pc:spChg>
        <pc:spChg chg="add del mod">
          <ac:chgData name="Steve Michelotti" userId="d931a2ef-fd87-4133-be5c-97892002e8cf" providerId="ADAL" clId="{F6C677D1-A53A-4D35-ABC5-72B65CBE4E79}" dt="2019-01-28T21:32:11.806" v="355"/>
          <ac:spMkLst>
            <pc:docMk/>
            <pc:sldMk cId="1049562837" sldId="1901"/>
            <ac:spMk id="7" creationId="{5E5D683C-2793-4E7A-96D0-E0C0DF17AFF2}"/>
          </ac:spMkLst>
        </pc:spChg>
        <pc:spChg chg="add del mod">
          <ac:chgData name="Steve Michelotti" userId="d931a2ef-fd87-4133-be5c-97892002e8cf" providerId="ADAL" clId="{F6C677D1-A53A-4D35-ABC5-72B65CBE4E79}" dt="2019-01-28T21:32:11.806" v="355"/>
          <ac:spMkLst>
            <pc:docMk/>
            <pc:sldMk cId="1049562837" sldId="1901"/>
            <ac:spMk id="8" creationId="{5CC24D67-12BD-45FF-87A5-4656E958865C}"/>
          </ac:spMkLst>
        </pc:spChg>
        <pc:spChg chg="add del mod">
          <ac:chgData name="Steve Michelotti" userId="d931a2ef-fd87-4133-be5c-97892002e8cf" providerId="ADAL" clId="{F6C677D1-A53A-4D35-ABC5-72B65CBE4E79}" dt="2019-01-28T21:32:22.049" v="356"/>
          <ac:spMkLst>
            <pc:docMk/>
            <pc:sldMk cId="1049562837" sldId="1901"/>
            <ac:spMk id="9" creationId="{41639BBB-1284-46D4-8237-C12A75EEEF26}"/>
          </ac:spMkLst>
        </pc:spChg>
        <pc:spChg chg="add del mod">
          <ac:chgData name="Steve Michelotti" userId="d931a2ef-fd87-4133-be5c-97892002e8cf" providerId="ADAL" clId="{F6C677D1-A53A-4D35-ABC5-72B65CBE4E79}" dt="2019-01-28T21:32:22.049" v="356"/>
          <ac:spMkLst>
            <pc:docMk/>
            <pc:sldMk cId="1049562837" sldId="1901"/>
            <ac:spMk id="10" creationId="{ADC21EB6-3ED5-4A85-8EC3-24E9506BADD2}"/>
          </ac:spMkLst>
        </pc:spChg>
        <pc:spChg chg="add mod">
          <ac:chgData name="Steve Michelotti" userId="d931a2ef-fd87-4133-be5c-97892002e8cf" providerId="ADAL" clId="{F6C677D1-A53A-4D35-ABC5-72B65CBE4E79}" dt="2019-01-30T16:14:36.557" v="1650" actId="1035"/>
          <ac:spMkLst>
            <pc:docMk/>
            <pc:sldMk cId="1049562837" sldId="1901"/>
            <ac:spMk id="11" creationId="{9C80E4BC-171E-4396-BB06-0C90F71C8E49}"/>
          </ac:spMkLst>
        </pc:spChg>
        <pc:spChg chg="add mod">
          <ac:chgData name="Steve Michelotti" userId="d931a2ef-fd87-4133-be5c-97892002e8cf" providerId="ADAL" clId="{F6C677D1-A53A-4D35-ABC5-72B65CBE4E79}" dt="2019-01-30T16:15:01.180" v="1661" actId="6549"/>
          <ac:spMkLst>
            <pc:docMk/>
            <pc:sldMk cId="1049562837" sldId="1901"/>
            <ac:spMk id="12" creationId="{28789DCF-65BF-4D2E-BACB-445C20DF7EDE}"/>
          </ac:spMkLst>
        </pc:spChg>
        <pc:spChg chg="add del mod">
          <ac:chgData name="Steve Michelotti" userId="d931a2ef-fd87-4133-be5c-97892002e8cf" providerId="ADAL" clId="{F6C677D1-A53A-4D35-ABC5-72B65CBE4E79}" dt="2019-01-28T21:38:46.865" v="357"/>
          <ac:spMkLst>
            <pc:docMk/>
            <pc:sldMk cId="1049562837" sldId="1901"/>
            <ac:spMk id="13" creationId="{0CAFF9A5-D512-4F6B-B8E0-E9A227534826}"/>
          </ac:spMkLst>
        </pc:spChg>
        <pc:picChg chg="add del">
          <ac:chgData name="Steve Michelotti" userId="d931a2ef-fd87-4133-be5c-97892002e8cf" providerId="ADAL" clId="{F6C677D1-A53A-4D35-ABC5-72B65CBE4E79}" dt="2019-01-30T16:10:57.782" v="1447"/>
          <ac:picMkLst>
            <pc:docMk/>
            <pc:sldMk cId="1049562837" sldId="1901"/>
            <ac:picMk id="2" creationId="{23F6551A-5785-4730-97E0-EF8197DFAC9F}"/>
          </ac:picMkLst>
        </pc:picChg>
        <pc:picChg chg="add del">
          <ac:chgData name="Steve Michelotti" userId="d931a2ef-fd87-4133-be5c-97892002e8cf" providerId="ADAL" clId="{F6C677D1-A53A-4D35-ABC5-72B65CBE4E79}" dt="2019-02-03T21:21:12.146" v="2106"/>
          <ac:picMkLst>
            <pc:docMk/>
            <pc:sldMk cId="1049562837" sldId="1901"/>
            <ac:picMk id="2" creationId="{C2C0E0FB-BC46-4A50-96CA-DB4D0088F7D4}"/>
          </ac:picMkLst>
        </pc:picChg>
        <pc:picChg chg="add del mod">
          <ac:chgData name="Steve Michelotti" userId="d931a2ef-fd87-4133-be5c-97892002e8cf" providerId="ADAL" clId="{F6C677D1-A53A-4D35-ABC5-72B65CBE4E79}" dt="2019-01-30T16:12:49.824" v="1451" actId="478"/>
          <ac:picMkLst>
            <pc:docMk/>
            <pc:sldMk cId="1049562837" sldId="1901"/>
            <ac:picMk id="3" creationId="{409EB482-D205-4BF8-AD70-508A63F6F5B5}"/>
          </ac:picMkLst>
        </pc:picChg>
        <pc:picChg chg="add mod">
          <ac:chgData name="Steve Michelotti" userId="d931a2ef-fd87-4133-be5c-97892002e8cf" providerId="ADAL" clId="{F6C677D1-A53A-4D35-ABC5-72B65CBE4E79}" dt="2019-02-03T21:22:03.689" v="2112" actId="1076"/>
          <ac:picMkLst>
            <pc:docMk/>
            <pc:sldMk cId="1049562837" sldId="1901"/>
            <ac:picMk id="3" creationId="{ECD3E7A1-6FEB-4D54-993D-1A8E61181756}"/>
          </ac:picMkLst>
        </pc:picChg>
        <pc:picChg chg="add del mod">
          <ac:chgData name="Steve Michelotti" userId="d931a2ef-fd87-4133-be5c-97892002e8cf" providerId="ADAL" clId="{F6C677D1-A53A-4D35-ABC5-72B65CBE4E79}" dt="2019-02-03T21:21:57.094" v="2109" actId="478"/>
          <ac:picMkLst>
            <pc:docMk/>
            <pc:sldMk cId="1049562837" sldId="1901"/>
            <ac:picMk id="4" creationId="{4865419A-28B3-4BD8-9834-4332418BFDEC}"/>
          </ac:picMkLst>
        </pc:picChg>
        <pc:picChg chg="add mod">
          <ac:chgData name="Steve Michelotti" userId="d931a2ef-fd87-4133-be5c-97892002e8cf" providerId="ADAL" clId="{F6C677D1-A53A-4D35-ABC5-72B65CBE4E79}" dt="2019-01-28T21:38:46.865" v="357"/>
          <ac:picMkLst>
            <pc:docMk/>
            <pc:sldMk cId="1049562837" sldId="1901"/>
            <ac:picMk id="15" creationId="{A723262B-5472-42CA-8C2F-7865B6214810}"/>
          </ac:picMkLst>
        </pc:picChg>
      </pc:sldChg>
      <pc:sldChg chg="add">
        <pc:chgData name="Steve Michelotti" userId="d931a2ef-fd87-4133-be5c-97892002e8cf" providerId="ADAL" clId="{F6C677D1-A53A-4D35-ABC5-72B65CBE4E79}" dt="2019-01-30T14:08:21.425" v="453"/>
        <pc:sldMkLst>
          <pc:docMk/>
          <pc:sldMk cId="1691077600" sldId="1903"/>
        </pc:sldMkLst>
      </pc:sldChg>
      <pc:sldChg chg="add">
        <pc:chgData name="Steve Michelotti" userId="d931a2ef-fd87-4133-be5c-97892002e8cf" providerId="ADAL" clId="{F6C677D1-A53A-4D35-ABC5-72B65CBE4E79}" dt="2019-01-30T14:08:21.425" v="453"/>
        <pc:sldMkLst>
          <pc:docMk/>
          <pc:sldMk cId="3073009540" sldId="1904"/>
        </pc:sldMkLst>
      </pc:sldChg>
      <pc:sldChg chg="add">
        <pc:chgData name="Steve Michelotti" userId="d931a2ef-fd87-4133-be5c-97892002e8cf" providerId="ADAL" clId="{F6C677D1-A53A-4D35-ABC5-72B65CBE4E79}" dt="2019-01-30T14:08:38.763" v="456"/>
        <pc:sldMkLst>
          <pc:docMk/>
          <pc:sldMk cId="2346106728" sldId="1905"/>
        </pc:sldMkLst>
      </pc:sldChg>
      <pc:sldChg chg="add">
        <pc:chgData name="Steve Michelotti" userId="d931a2ef-fd87-4133-be5c-97892002e8cf" providerId="ADAL" clId="{F6C677D1-A53A-4D35-ABC5-72B65CBE4E79}" dt="2019-01-30T14:08:38.763" v="456"/>
        <pc:sldMkLst>
          <pc:docMk/>
          <pc:sldMk cId="4223538262" sldId="1906"/>
        </pc:sldMkLst>
      </pc:sldChg>
      <pc:sldChg chg="add">
        <pc:chgData name="Steve Michelotti" userId="d931a2ef-fd87-4133-be5c-97892002e8cf" providerId="ADAL" clId="{F6C677D1-A53A-4D35-ABC5-72B65CBE4E79}" dt="2019-01-30T14:08:38.763" v="456"/>
        <pc:sldMkLst>
          <pc:docMk/>
          <pc:sldMk cId="3524604422" sldId="1907"/>
        </pc:sldMkLst>
      </pc:sldChg>
      <pc:sldChg chg="addSp delSp modSp add modNotesTx">
        <pc:chgData name="Steve Michelotti" userId="d931a2ef-fd87-4133-be5c-97892002e8cf" providerId="ADAL" clId="{F6C677D1-A53A-4D35-ABC5-72B65CBE4E79}" dt="2019-02-03T21:18:24.799" v="2096" actId="20577"/>
        <pc:sldMkLst>
          <pc:docMk/>
          <pc:sldMk cId="2561200131" sldId="1908"/>
        </pc:sldMkLst>
        <pc:spChg chg="del">
          <ac:chgData name="Steve Michelotti" userId="d931a2ef-fd87-4133-be5c-97892002e8cf" providerId="ADAL" clId="{F6C677D1-A53A-4D35-ABC5-72B65CBE4E79}" dt="2019-01-30T14:10:05.294" v="467"/>
          <ac:spMkLst>
            <pc:docMk/>
            <pc:sldMk cId="2561200131" sldId="1908"/>
            <ac:spMk id="2" creationId="{91927553-A3EC-47E6-A2E6-110DFD8151F9}"/>
          </ac:spMkLst>
        </pc:spChg>
        <pc:spChg chg="add mod">
          <ac:chgData name="Steve Michelotti" userId="d931a2ef-fd87-4133-be5c-97892002e8cf" providerId="ADAL" clId="{F6C677D1-A53A-4D35-ABC5-72B65CBE4E79}" dt="2019-01-30T14:10:12.871" v="509" actId="20577"/>
          <ac:spMkLst>
            <pc:docMk/>
            <pc:sldMk cId="2561200131" sldId="1908"/>
            <ac:spMk id="5" creationId="{4B20CC1B-D31D-4832-AB55-FD6916730D7C}"/>
          </ac:spMkLst>
        </pc:spChg>
        <pc:spChg chg="add mod">
          <ac:chgData name="Steve Michelotti" userId="d931a2ef-fd87-4133-be5c-97892002e8cf" providerId="ADAL" clId="{F6C677D1-A53A-4D35-ABC5-72B65CBE4E79}" dt="2019-02-03T21:18:24.799" v="2096" actId="20577"/>
          <ac:spMkLst>
            <pc:docMk/>
            <pc:sldMk cId="2561200131" sldId="1908"/>
            <ac:spMk id="6" creationId="{DBDA5DF6-D51F-4DF6-B9B9-20DFD080D58A}"/>
          </ac:spMkLst>
        </pc:spChg>
      </pc:sldChg>
      <pc:sldChg chg="modSp add modAnim modNotesTx">
        <pc:chgData name="Steve Michelotti" userId="d931a2ef-fd87-4133-be5c-97892002e8cf" providerId="ADAL" clId="{F6C677D1-A53A-4D35-ABC5-72B65CBE4E79}" dt="2019-02-03T21:26:09.458" v="2136"/>
        <pc:sldMkLst>
          <pc:docMk/>
          <pc:sldMk cId="3575068865" sldId="1910"/>
        </pc:sldMkLst>
        <pc:graphicFrameChg chg="mod">
          <ac:chgData name="Steve Michelotti" userId="d931a2ef-fd87-4133-be5c-97892002e8cf" providerId="ADAL" clId="{F6C677D1-A53A-4D35-ABC5-72B65CBE4E79}" dt="2019-02-03T21:16:38.483" v="2082"/>
          <ac:graphicFrameMkLst>
            <pc:docMk/>
            <pc:sldMk cId="3575068865" sldId="1910"/>
            <ac:graphicFrameMk id="6" creationId="{317733DC-A70D-4BB6-897B-EA3F9DC105F9}"/>
          </ac:graphicFrameMkLst>
        </pc:graphicFrameChg>
      </pc:sldChg>
      <pc:sldChg chg="addSp delSp modSp add">
        <pc:chgData name="Steve Michelotti" userId="d931a2ef-fd87-4133-be5c-97892002e8cf" providerId="ADAL" clId="{F6C677D1-A53A-4D35-ABC5-72B65CBE4E79}" dt="2019-02-03T21:27:09.813" v="2163" actId="20577"/>
        <pc:sldMkLst>
          <pc:docMk/>
          <pc:sldMk cId="1983379546" sldId="1911"/>
        </pc:sldMkLst>
        <pc:spChg chg="del">
          <ac:chgData name="Steve Michelotti" userId="d931a2ef-fd87-4133-be5c-97892002e8cf" providerId="ADAL" clId="{F6C677D1-A53A-4D35-ABC5-72B65CBE4E79}" dt="2019-01-30T14:46:55.475" v="733"/>
          <ac:spMkLst>
            <pc:docMk/>
            <pc:sldMk cId="1983379546" sldId="1911"/>
            <ac:spMk id="2" creationId="{F8B0D39B-5BEE-4B84-A5C2-37B3F2CCAFAA}"/>
          </ac:spMkLst>
        </pc:spChg>
        <pc:spChg chg="add mod">
          <ac:chgData name="Steve Michelotti" userId="d931a2ef-fd87-4133-be5c-97892002e8cf" providerId="ADAL" clId="{F6C677D1-A53A-4D35-ABC5-72B65CBE4E79}" dt="2019-01-30T14:49:04.678" v="778" actId="20577"/>
          <ac:spMkLst>
            <pc:docMk/>
            <pc:sldMk cId="1983379546" sldId="1911"/>
            <ac:spMk id="5" creationId="{281FDDF5-D094-4EDD-B6A4-9535E508966C}"/>
          </ac:spMkLst>
        </pc:spChg>
        <pc:spChg chg="add mod">
          <ac:chgData name="Steve Michelotti" userId="d931a2ef-fd87-4133-be5c-97892002e8cf" providerId="ADAL" clId="{F6C677D1-A53A-4D35-ABC5-72B65CBE4E79}" dt="2019-02-03T21:27:09.813" v="2163" actId="20577"/>
          <ac:spMkLst>
            <pc:docMk/>
            <pc:sldMk cId="1983379546" sldId="1911"/>
            <ac:spMk id="6" creationId="{ECED6658-76F3-4F73-AB96-54A006315AEE}"/>
          </ac:spMkLst>
        </pc:spChg>
      </pc:sldChg>
      <pc:sldChg chg="add modTransition">
        <pc:chgData name="Steve Michelotti" userId="d931a2ef-fd87-4133-be5c-97892002e8cf" providerId="ADAL" clId="{F6C677D1-A53A-4D35-ABC5-72B65CBE4E79}" dt="2019-02-03T21:14:42.864" v="2071"/>
        <pc:sldMkLst>
          <pc:docMk/>
          <pc:sldMk cId="3429497219" sldId="1912"/>
        </pc:sldMkLst>
      </pc:sldChg>
      <pc:sldChg chg="modSp add ord modAnim">
        <pc:chgData name="Steve Michelotti" userId="d931a2ef-fd87-4133-be5c-97892002e8cf" providerId="ADAL" clId="{F6C677D1-A53A-4D35-ABC5-72B65CBE4E79}" dt="2019-02-03T21:23:21.638" v="2115"/>
        <pc:sldMkLst>
          <pc:docMk/>
          <pc:sldMk cId="2150095807" sldId="1914"/>
        </pc:sldMkLst>
        <pc:graphicFrameChg chg="mod">
          <ac:chgData name="Steve Michelotti" userId="d931a2ef-fd87-4133-be5c-97892002e8cf" providerId="ADAL" clId="{F6C677D1-A53A-4D35-ABC5-72B65CBE4E79}" dt="2019-02-03T21:16:05.861" v="2080"/>
          <ac:graphicFrameMkLst>
            <pc:docMk/>
            <pc:sldMk cId="2150095807" sldId="1914"/>
            <ac:graphicFrameMk id="6" creationId="{317733DC-A70D-4BB6-897B-EA3F9DC105F9}"/>
          </ac:graphicFrameMkLst>
        </pc:graphicFrameChg>
      </pc:sldChg>
      <pc:sldChg chg="addSp delSp modSp add ord modTransition">
        <pc:chgData name="Steve Michelotti" userId="d931a2ef-fd87-4133-be5c-97892002e8cf" providerId="ADAL" clId="{F6C677D1-A53A-4D35-ABC5-72B65CBE4E79}" dt="2019-02-03T22:04:39.571" v="2215" actId="20577"/>
        <pc:sldMkLst>
          <pc:docMk/>
          <pc:sldMk cId="1713087281" sldId="1915"/>
        </pc:sldMkLst>
        <pc:spChg chg="del">
          <ac:chgData name="Steve Michelotti" userId="d931a2ef-fd87-4133-be5c-97892002e8cf" providerId="ADAL" clId="{F6C677D1-A53A-4D35-ABC5-72B65CBE4E79}" dt="2019-01-30T15:01:19.567" v="1026"/>
          <ac:spMkLst>
            <pc:docMk/>
            <pc:sldMk cId="1713087281" sldId="1915"/>
            <ac:spMk id="2" creationId="{2701FA4E-0C83-48A0-8C2A-D7B5FDA87CBF}"/>
          </ac:spMkLst>
        </pc:spChg>
        <pc:spChg chg="add del mod">
          <ac:chgData name="Steve Michelotti" userId="d931a2ef-fd87-4133-be5c-97892002e8cf" providerId="ADAL" clId="{F6C677D1-A53A-4D35-ABC5-72B65CBE4E79}" dt="2019-01-30T15:01:27.110" v="1027"/>
          <ac:spMkLst>
            <pc:docMk/>
            <pc:sldMk cId="1713087281" sldId="1915"/>
            <ac:spMk id="3" creationId="{0797CBFE-2855-45D7-A699-E20CD75FD688}"/>
          </ac:spMkLst>
        </pc:spChg>
        <pc:spChg chg="add del mod">
          <ac:chgData name="Steve Michelotti" userId="d931a2ef-fd87-4133-be5c-97892002e8cf" providerId="ADAL" clId="{F6C677D1-A53A-4D35-ABC5-72B65CBE4E79}" dt="2019-01-30T15:01:27.110" v="1027"/>
          <ac:spMkLst>
            <pc:docMk/>
            <pc:sldMk cId="1713087281" sldId="1915"/>
            <ac:spMk id="4" creationId="{1140D6D1-47C0-40C7-B285-29111B8166A1}"/>
          </ac:spMkLst>
        </pc:spChg>
        <pc:spChg chg="add mod">
          <ac:chgData name="Steve Michelotti" userId="d931a2ef-fd87-4133-be5c-97892002e8cf" providerId="ADAL" clId="{F6C677D1-A53A-4D35-ABC5-72B65CBE4E79}" dt="2019-01-30T15:01:34.531" v="1068" actId="20577"/>
          <ac:spMkLst>
            <pc:docMk/>
            <pc:sldMk cId="1713087281" sldId="1915"/>
            <ac:spMk id="5" creationId="{135A245E-E0C4-4C39-A809-CE7493D3C048}"/>
          </ac:spMkLst>
        </pc:spChg>
        <pc:spChg chg="add mod">
          <ac:chgData name="Steve Michelotti" userId="d931a2ef-fd87-4133-be5c-97892002e8cf" providerId="ADAL" clId="{F6C677D1-A53A-4D35-ABC5-72B65CBE4E79}" dt="2019-02-03T22:04:39.571" v="2215" actId="20577"/>
          <ac:spMkLst>
            <pc:docMk/>
            <pc:sldMk cId="1713087281" sldId="1915"/>
            <ac:spMk id="6" creationId="{60E870F0-47B5-4454-85DF-2E8E1836F9BA}"/>
          </ac:spMkLst>
        </pc:spChg>
      </pc:sldChg>
      <pc:sldChg chg="addSp delSp modSp add modNotesTx">
        <pc:chgData name="Steve Michelotti" userId="d931a2ef-fd87-4133-be5c-97892002e8cf" providerId="ADAL" clId="{F6C677D1-A53A-4D35-ABC5-72B65CBE4E79}" dt="2019-02-03T21:18:46.948" v="2104" actId="20577"/>
        <pc:sldMkLst>
          <pc:docMk/>
          <pc:sldMk cId="507671837" sldId="1916"/>
        </pc:sldMkLst>
        <pc:spChg chg="del">
          <ac:chgData name="Steve Michelotti" userId="d931a2ef-fd87-4133-be5c-97892002e8cf" providerId="ADAL" clId="{F6C677D1-A53A-4D35-ABC5-72B65CBE4E79}" dt="2019-01-30T15:06:53.861" v="1104"/>
          <ac:spMkLst>
            <pc:docMk/>
            <pc:sldMk cId="507671837" sldId="1916"/>
            <ac:spMk id="2" creationId="{A2B304B6-4596-473F-88D6-17A3067906A0}"/>
          </ac:spMkLst>
        </pc:spChg>
        <pc:spChg chg="add mod">
          <ac:chgData name="Steve Michelotti" userId="d931a2ef-fd87-4133-be5c-97892002e8cf" providerId="ADAL" clId="{F6C677D1-A53A-4D35-ABC5-72B65CBE4E79}" dt="2019-01-30T15:07:01.463" v="1145" actId="20577"/>
          <ac:spMkLst>
            <pc:docMk/>
            <pc:sldMk cId="507671837" sldId="1916"/>
            <ac:spMk id="5" creationId="{9D89D6B5-22D0-4696-A4F0-F5CEFF6B38D7}"/>
          </ac:spMkLst>
        </pc:spChg>
        <pc:spChg chg="add mod">
          <ac:chgData name="Steve Michelotti" userId="d931a2ef-fd87-4133-be5c-97892002e8cf" providerId="ADAL" clId="{F6C677D1-A53A-4D35-ABC5-72B65CBE4E79}" dt="2019-02-03T21:18:46.948" v="2104" actId="20577"/>
          <ac:spMkLst>
            <pc:docMk/>
            <pc:sldMk cId="507671837" sldId="1916"/>
            <ac:spMk id="6" creationId="{13FE507C-1C01-41C5-A315-63F420C4FC69}"/>
          </ac:spMkLst>
        </pc:spChg>
      </pc:sldChg>
      <pc:sldChg chg="modSp add ord modTransition modAnim">
        <pc:chgData name="Steve Michelotti" userId="d931a2ef-fd87-4133-be5c-97892002e8cf" providerId="ADAL" clId="{F6C677D1-A53A-4D35-ABC5-72B65CBE4E79}" dt="2019-02-03T21:25:05.806" v="2131"/>
        <pc:sldMkLst>
          <pc:docMk/>
          <pc:sldMk cId="3466365809" sldId="1917"/>
        </pc:sldMkLst>
        <pc:graphicFrameChg chg="mod">
          <ac:chgData name="Steve Michelotti" userId="d931a2ef-fd87-4133-be5c-97892002e8cf" providerId="ADAL" clId="{F6C677D1-A53A-4D35-ABC5-72B65CBE4E79}" dt="2019-02-03T21:16:27.612" v="2081"/>
          <ac:graphicFrameMkLst>
            <pc:docMk/>
            <pc:sldMk cId="3466365809" sldId="1917"/>
            <ac:graphicFrameMk id="6" creationId="{317733DC-A70D-4BB6-897B-EA3F9DC105F9}"/>
          </ac:graphicFrameMkLst>
        </pc:graphicFrameChg>
      </pc:sldChg>
      <pc:sldChg chg="modSp add ord modTransition">
        <pc:chgData name="Steve Michelotti" userId="d931a2ef-fd87-4133-be5c-97892002e8cf" providerId="ADAL" clId="{F6C677D1-A53A-4D35-ABC5-72B65CBE4E79}" dt="2019-02-03T21:27:25.429" v="2179" actId="20577"/>
        <pc:sldMkLst>
          <pc:docMk/>
          <pc:sldMk cId="2707918394" sldId="1918"/>
        </pc:sldMkLst>
        <pc:spChg chg="mod">
          <ac:chgData name="Steve Michelotti" userId="d931a2ef-fd87-4133-be5c-97892002e8cf" providerId="ADAL" clId="{F6C677D1-A53A-4D35-ABC5-72B65CBE4E79}" dt="2019-01-30T15:28:03.768" v="1351" actId="20577"/>
          <ac:spMkLst>
            <pc:docMk/>
            <pc:sldMk cId="2707918394" sldId="1918"/>
            <ac:spMk id="5" creationId="{135A245E-E0C4-4C39-A809-CE7493D3C048}"/>
          </ac:spMkLst>
        </pc:spChg>
        <pc:spChg chg="mod">
          <ac:chgData name="Steve Michelotti" userId="d931a2ef-fd87-4133-be5c-97892002e8cf" providerId="ADAL" clId="{F6C677D1-A53A-4D35-ABC5-72B65CBE4E79}" dt="2019-02-03T21:27:25.429" v="2179" actId="20577"/>
          <ac:spMkLst>
            <pc:docMk/>
            <pc:sldMk cId="2707918394" sldId="1918"/>
            <ac:spMk id="6" creationId="{60E870F0-47B5-4454-85DF-2E8E1836F9BA}"/>
          </ac:spMkLst>
        </pc:spChg>
      </pc:sldChg>
      <pc:sldChg chg="modSp add modTransition modAnim">
        <pc:chgData name="Steve Michelotti" userId="d931a2ef-fd87-4133-be5c-97892002e8cf" providerId="ADAL" clId="{F6C677D1-A53A-4D35-ABC5-72B65CBE4E79}" dt="2019-02-03T21:26:42.401" v="2139"/>
        <pc:sldMkLst>
          <pc:docMk/>
          <pc:sldMk cId="1924123484" sldId="1920"/>
        </pc:sldMkLst>
        <pc:graphicFrameChg chg="mod">
          <ac:chgData name="Steve Michelotti" userId="d931a2ef-fd87-4133-be5c-97892002e8cf" providerId="ADAL" clId="{F6C677D1-A53A-4D35-ABC5-72B65CBE4E79}" dt="2019-02-03T21:16:51.793" v="2084"/>
          <ac:graphicFrameMkLst>
            <pc:docMk/>
            <pc:sldMk cId="1924123484" sldId="1920"/>
            <ac:graphicFrameMk id="6" creationId="{317733DC-A70D-4BB6-897B-EA3F9DC105F9}"/>
          </ac:graphicFrameMkLst>
        </pc:graphicFrameChg>
      </pc:sldChg>
      <pc:sldChg chg="modSp add">
        <pc:chgData name="Steve Michelotti" userId="d931a2ef-fd87-4133-be5c-97892002e8cf" providerId="ADAL" clId="{F6C677D1-A53A-4D35-ABC5-72B65CBE4E79}" dt="2019-02-03T21:26:57.483" v="2155" actId="20577"/>
        <pc:sldMkLst>
          <pc:docMk/>
          <pc:sldMk cId="932872133" sldId="1921"/>
        </pc:sldMkLst>
        <pc:spChg chg="mod">
          <ac:chgData name="Steve Michelotti" userId="d931a2ef-fd87-4133-be5c-97892002e8cf" providerId="ADAL" clId="{F6C677D1-A53A-4D35-ABC5-72B65CBE4E79}" dt="2019-01-30T15:35:15.735" v="1423" actId="20577"/>
          <ac:spMkLst>
            <pc:docMk/>
            <pc:sldMk cId="932872133" sldId="1921"/>
            <ac:spMk id="5" creationId="{135A245E-E0C4-4C39-A809-CE7493D3C048}"/>
          </ac:spMkLst>
        </pc:spChg>
        <pc:spChg chg="mod">
          <ac:chgData name="Steve Michelotti" userId="d931a2ef-fd87-4133-be5c-97892002e8cf" providerId="ADAL" clId="{F6C677D1-A53A-4D35-ABC5-72B65CBE4E79}" dt="2019-02-03T21:26:57.483" v="2155" actId="20577"/>
          <ac:spMkLst>
            <pc:docMk/>
            <pc:sldMk cId="932872133" sldId="1921"/>
            <ac:spMk id="6" creationId="{60E870F0-47B5-4454-85DF-2E8E1836F9BA}"/>
          </ac:spMkLst>
        </pc:spChg>
      </pc:sldChg>
      <pc:sldChg chg="add">
        <pc:chgData name="Steve Michelotti" userId="d931a2ef-fd87-4133-be5c-97892002e8cf" providerId="ADAL" clId="{F6C677D1-A53A-4D35-ABC5-72B65CBE4E79}" dt="2019-02-03T02:29:26.731" v="2068"/>
        <pc:sldMkLst>
          <pc:docMk/>
          <pc:sldMk cId="3305248979" sldId="4465"/>
        </pc:sldMkLst>
      </pc:sldChg>
      <pc:sldChg chg="add modTransition">
        <pc:chgData name="Steve Michelotti" userId="d931a2ef-fd87-4133-be5c-97892002e8cf" providerId="ADAL" clId="{F6C677D1-A53A-4D35-ABC5-72B65CBE4E79}" dt="2019-02-03T02:29:35.728" v="2069"/>
        <pc:sldMkLst>
          <pc:docMk/>
          <pc:sldMk cId="2059422708" sldId="4466"/>
        </pc:sldMkLst>
      </pc:sldChg>
      <pc:sldChg chg="add modTransition">
        <pc:chgData name="Steve Michelotti" userId="d931a2ef-fd87-4133-be5c-97892002e8cf" providerId="ADAL" clId="{F6C677D1-A53A-4D35-ABC5-72B65CBE4E79}" dt="2019-02-03T02:29:35.728" v="2069"/>
        <pc:sldMkLst>
          <pc:docMk/>
          <pc:sldMk cId="1541951476" sldId="4467"/>
        </pc:sldMkLst>
      </pc:sldChg>
      <pc:sldChg chg="modSp add">
        <pc:chgData name="Steve Michelotti" userId="d931a2ef-fd87-4133-be5c-97892002e8cf" providerId="ADAL" clId="{F6C677D1-A53A-4D35-ABC5-72B65CBE4E79}" dt="2019-02-03T21:21:46.216" v="2107"/>
        <pc:sldMkLst>
          <pc:docMk/>
          <pc:sldMk cId="2968293576" sldId="4468"/>
        </pc:sldMkLst>
        <pc:graphicFrameChg chg="mod">
          <ac:chgData name="Steve Michelotti" userId="d931a2ef-fd87-4133-be5c-97892002e8cf" providerId="ADAL" clId="{F6C677D1-A53A-4D35-ABC5-72B65CBE4E79}" dt="2019-02-03T21:21:46.216" v="2107"/>
          <ac:graphicFrameMkLst>
            <pc:docMk/>
            <pc:sldMk cId="2968293576" sldId="4468"/>
            <ac:graphicFrameMk id="6" creationId="{317733DC-A70D-4BB6-897B-EA3F9DC105F9}"/>
          </ac:graphicFrameMkLst>
        </pc:graphicFrameChg>
      </pc:sldChg>
      <pc:sldMasterChg chg="delSldLayout">
        <pc:chgData name="Steve Michelotti" userId="d931a2ef-fd87-4133-be5c-97892002e8cf" providerId="ADAL" clId="{F6C677D1-A53A-4D35-ABC5-72B65CBE4E79}" dt="2019-01-30T14:08:42.744" v="460" actId="2696"/>
        <pc:sldMasterMkLst>
          <pc:docMk/>
          <pc:sldMasterMk cId="3588427678" sldId="2147484229"/>
        </pc:sldMasterMkLst>
      </pc:sldMaster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8DC5160-EF61-482F-B0DD-8A45A5859E75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0B8169F-F338-48C1-96BA-A01461419C5F}">
      <dgm:prSet/>
      <dgm:spPr/>
      <dgm:t>
        <a:bodyPr/>
        <a:lstStyle/>
        <a:p>
          <a:r>
            <a:rPr lang="en-US" baseline="0"/>
            <a:t>Nullable Reference Types</a:t>
          </a:r>
          <a:endParaRPr lang="en-US"/>
        </a:p>
      </dgm:t>
    </dgm:pt>
    <dgm:pt modelId="{64D2F8EB-3DFA-4A4C-8236-866AEB61401A}" type="parTrans" cxnId="{9F30C4A7-9C59-45B5-9A15-38CE50618A14}">
      <dgm:prSet/>
      <dgm:spPr/>
      <dgm:t>
        <a:bodyPr/>
        <a:lstStyle/>
        <a:p>
          <a:endParaRPr lang="en-US"/>
        </a:p>
      </dgm:t>
    </dgm:pt>
    <dgm:pt modelId="{5AE734F2-6618-4403-BD86-D2DDD9CFF876}" type="sibTrans" cxnId="{9F30C4A7-9C59-45B5-9A15-38CE50618A14}">
      <dgm:prSet/>
      <dgm:spPr/>
      <dgm:t>
        <a:bodyPr/>
        <a:lstStyle/>
        <a:p>
          <a:endParaRPr lang="en-US"/>
        </a:p>
      </dgm:t>
    </dgm:pt>
    <dgm:pt modelId="{2346EE7E-1CED-413A-89E0-0FC7341776B1}">
      <dgm:prSet/>
      <dgm:spPr/>
      <dgm:t>
        <a:bodyPr/>
        <a:lstStyle/>
        <a:p>
          <a:r>
            <a:rPr lang="en-US" baseline="0"/>
            <a:t>More Patterns</a:t>
          </a:r>
          <a:endParaRPr lang="en-US"/>
        </a:p>
      </dgm:t>
    </dgm:pt>
    <dgm:pt modelId="{2FB0EEE8-88B8-4093-994C-DEEF7B98AF98}" type="parTrans" cxnId="{F0AC7F05-2171-44C4-BC50-FE127641F16F}">
      <dgm:prSet/>
      <dgm:spPr/>
      <dgm:t>
        <a:bodyPr/>
        <a:lstStyle/>
        <a:p>
          <a:endParaRPr lang="en-US"/>
        </a:p>
      </dgm:t>
    </dgm:pt>
    <dgm:pt modelId="{BC050693-6BBC-4C5A-AE50-C8633138E718}" type="sibTrans" cxnId="{F0AC7F05-2171-44C4-BC50-FE127641F16F}">
      <dgm:prSet/>
      <dgm:spPr/>
      <dgm:t>
        <a:bodyPr/>
        <a:lstStyle/>
        <a:p>
          <a:endParaRPr lang="en-US"/>
        </a:p>
      </dgm:t>
    </dgm:pt>
    <dgm:pt modelId="{1489F29C-EBC7-4527-830F-82106205CB17}">
      <dgm:prSet/>
      <dgm:spPr/>
      <dgm:t>
        <a:bodyPr/>
        <a:lstStyle/>
        <a:p>
          <a:r>
            <a:rPr lang="en-US" baseline="0"/>
            <a:t>Indices and Ranges</a:t>
          </a:r>
          <a:endParaRPr lang="en-US"/>
        </a:p>
      </dgm:t>
    </dgm:pt>
    <dgm:pt modelId="{362AE507-04ED-44AD-87A6-4D419C75FE20}" type="parTrans" cxnId="{208C6D36-74CF-4115-8E65-03C51B2FEF18}">
      <dgm:prSet/>
      <dgm:spPr/>
      <dgm:t>
        <a:bodyPr/>
        <a:lstStyle/>
        <a:p>
          <a:endParaRPr lang="en-US"/>
        </a:p>
      </dgm:t>
    </dgm:pt>
    <dgm:pt modelId="{BC923B5A-2227-46B5-A6E7-03ED42D03F45}" type="sibTrans" cxnId="{208C6D36-74CF-4115-8E65-03C51B2FEF18}">
      <dgm:prSet/>
      <dgm:spPr/>
      <dgm:t>
        <a:bodyPr/>
        <a:lstStyle/>
        <a:p>
          <a:endParaRPr lang="en-US"/>
        </a:p>
      </dgm:t>
    </dgm:pt>
    <dgm:pt modelId="{CEF119A4-D44F-4C50-8692-D919540158F9}">
      <dgm:prSet/>
      <dgm:spPr/>
      <dgm:t>
        <a:bodyPr/>
        <a:lstStyle/>
        <a:p>
          <a:r>
            <a:rPr lang="en-US" baseline="0"/>
            <a:t>Static Local Functions</a:t>
          </a:r>
          <a:endParaRPr lang="en-US"/>
        </a:p>
      </dgm:t>
    </dgm:pt>
    <dgm:pt modelId="{1E7B4D8B-5098-41CC-A17C-02A91649A92E}" type="parTrans" cxnId="{09AAF7B9-C855-41BB-BD4F-7A2D68C3432C}">
      <dgm:prSet/>
      <dgm:spPr/>
      <dgm:t>
        <a:bodyPr/>
        <a:lstStyle/>
        <a:p>
          <a:endParaRPr lang="en-US"/>
        </a:p>
      </dgm:t>
    </dgm:pt>
    <dgm:pt modelId="{E12B607C-4220-4A96-A6CA-3AB74945CC18}" type="sibTrans" cxnId="{09AAF7B9-C855-41BB-BD4F-7A2D68C3432C}">
      <dgm:prSet/>
      <dgm:spPr/>
      <dgm:t>
        <a:bodyPr/>
        <a:lstStyle/>
        <a:p>
          <a:endParaRPr lang="en-US"/>
        </a:p>
      </dgm:t>
    </dgm:pt>
    <dgm:pt modelId="{BA742E04-12FA-469A-A1BC-E0021FE8B8BF}">
      <dgm:prSet/>
      <dgm:spPr/>
      <dgm:t>
        <a:bodyPr/>
        <a:lstStyle/>
        <a:p>
          <a:r>
            <a:rPr lang="en-US" baseline="0"/>
            <a:t>using Declarations</a:t>
          </a:r>
          <a:endParaRPr lang="en-US"/>
        </a:p>
      </dgm:t>
    </dgm:pt>
    <dgm:pt modelId="{D38EC767-E385-4C4B-A1CF-012FC2538A3D}" type="parTrans" cxnId="{D8AC21F8-CD20-497F-9593-56E6C1F6F91A}">
      <dgm:prSet/>
      <dgm:spPr/>
      <dgm:t>
        <a:bodyPr/>
        <a:lstStyle/>
        <a:p>
          <a:endParaRPr lang="en-US"/>
        </a:p>
      </dgm:t>
    </dgm:pt>
    <dgm:pt modelId="{F92CE09E-B7CE-46EC-A052-3FB255DB549A}" type="sibTrans" cxnId="{D8AC21F8-CD20-497F-9593-56E6C1F6F91A}">
      <dgm:prSet/>
      <dgm:spPr/>
      <dgm:t>
        <a:bodyPr/>
        <a:lstStyle/>
        <a:p>
          <a:endParaRPr lang="en-US"/>
        </a:p>
      </dgm:t>
    </dgm:pt>
    <dgm:pt modelId="{F94B0B57-B7B1-4B2A-A4FE-54A89148F03A}">
      <dgm:prSet/>
      <dgm:spPr/>
      <dgm:t>
        <a:bodyPr/>
        <a:lstStyle/>
        <a:p>
          <a:r>
            <a:rPr lang="en-US" baseline="0"/>
            <a:t>Async Streams</a:t>
          </a:r>
          <a:endParaRPr lang="en-US"/>
        </a:p>
      </dgm:t>
    </dgm:pt>
    <dgm:pt modelId="{2762F591-D67D-4DA2-B29C-892C8DE7B4A3}" type="parTrans" cxnId="{8A2D1EBF-D54F-46EE-880D-DE4E85693948}">
      <dgm:prSet/>
      <dgm:spPr/>
      <dgm:t>
        <a:bodyPr/>
        <a:lstStyle/>
        <a:p>
          <a:endParaRPr lang="en-US"/>
        </a:p>
      </dgm:t>
    </dgm:pt>
    <dgm:pt modelId="{16105C99-0A44-4B19-8F35-C9DAFC2B0632}" type="sibTrans" cxnId="{8A2D1EBF-D54F-46EE-880D-DE4E85693948}">
      <dgm:prSet/>
      <dgm:spPr/>
      <dgm:t>
        <a:bodyPr/>
        <a:lstStyle/>
        <a:p>
          <a:endParaRPr lang="en-US"/>
        </a:p>
      </dgm:t>
    </dgm:pt>
    <dgm:pt modelId="{96D17D79-C488-4C09-B263-F32CB9C4B867}">
      <dgm:prSet/>
      <dgm:spPr/>
      <dgm:t>
        <a:bodyPr/>
        <a:lstStyle/>
        <a:p>
          <a:r>
            <a:rPr lang="en-US" baseline="0" dirty="0"/>
            <a:t>Default Interface Members</a:t>
          </a:r>
          <a:endParaRPr lang="en-US" dirty="0"/>
        </a:p>
      </dgm:t>
    </dgm:pt>
    <dgm:pt modelId="{EFCB1718-A74A-4AD2-85AC-06A15B254542}" type="parTrans" cxnId="{1BEDE52E-3840-4F6E-9E1D-1A7A5A9C7F41}">
      <dgm:prSet/>
      <dgm:spPr/>
      <dgm:t>
        <a:bodyPr/>
        <a:lstStyle/>
        <a:p>
          <a:endParaRPr lang="en-US"/>
        </a:p>
      </dgm:t>
    </dgm:pt>
    <dgm:pt modelId="{2F517AA2-F717-416D-9A95-E0DF52E85458}" type="sibTrans" cxnId="{1BEDE52E-3840-4F6E-9E1D-1A7A5A9C7F41}">
      <dgm:prSet/>
      <dgm:spPr/>
      <dgm:t>
        <a:bodyPr/>
        <a:lstStyle/>
        <a:p>
          <a:endParaRPr lang="en-US"/>
        </a:p>
      </dgm:t>
    </dgm:pt>
    <dgm:pt modelId="{318FAD3C-9863-403E-9FB2-CA4654DE4A69}">
      <dgm:prSet/>
      <dgm:spPr/>
      <dgm:t>
        <a:bodyPr/>
        <a:lstStyle/>
        <a:p>
          <a:r>
            <a:rPr lang="en-US" baseline="0" dirty="0"/>
            <a:t>Struct </a:t>
          </a:r>
          <a:r>
            <a:rPr lang="en-US" baseline="0" dirty="0" err="1"/>
            <a:t>Readonly</a:t>
          </a:r>
          <a:r>
            <a:rPr lang="en-US" baseline="0" dirty="0"/>
            <a:t> Members</a:t>
          </a:r>
          <a:endParaRPr lang="en-US" dirty="0"/>
        </a:p>
      </dgm:t>
    </dgm:pt>
    <dgm:pt modelId="{FF525A0F-EB80-4834-B0A7-C88AC34D2588}" type="parTrans" cxnId="{361F43C8-7BE5-47BF-8068-3E668E5A46CB}">
      <dgm:prSet/>
      <dgm:spPr/>
      <dgm:t>
        <a:bodyPr/>
        <a:lstStyle/>
        <a:p>
          <a:endParaRPr lang="en-US"/>
        </a:p>
      </dgm:t>
    </dgm:pt>
    <dgm:pt modelId="{CF9B12EF-57D2-4D06-A499-A0E588F6A1BC}" type="sibTrans" cxnId="{361F43C8-7BE5-47BF-8068-3E668E5A46CB}">
      <dgm:prSet/>
      <dgm:spPr/>
      <dgm:t>
        <a:bodyPr/>
        <a:lstStyle/>
        <a:p>
          <a:endParaRPr lang="en-US"/>
        </a:p>
      </dgm:t>
    </dgm:pt>
    <dgm:pt modelId="{20594BC6-70D5-4447-9026-EB82CFD7A4B3}">
      <dgm:prSet/>
      <dgm:spPr/>
      <dgm:t>
        <a:bodyPr/>
        <a:lstStyle/>
        <a:p>
          <a:r>
            <a:rPr lang="en-US" baseline="0"/>
            <a:t>Disposable ref structs</a:t>
          </a:r>
          <a:endParaRPr lang="en-US" dirty="0"/>
        </a:p>
      </dgm:t>
    </dgm:pt>
    <dgm:pt modelId="{49C20FEE-80A5-43B0-A347-6FC6E06BF770}" type="parTrans" cxnId="{C5DC255D-43E1-4933-AB06-B0B9BBC22286}">
      <dgm:prSet/>
      <dgm:spPr/>
      <dgm:t>
        <a:bodyPr/>
        <a:lstStyle/>
        <a:p>
          <a:endParaRPr lang="en-US"/>
        </a:p>
      </dgm:t>
    </dgm:pt>
    <dgm:pt modelId="{C64FCA29-BB25-4526-A862-D5576DCC13BB}" type="sibTrans" cxnId="{C5DC255D-43E1-4933-AB06-B0B9BBC22286}">
      <dgm:prSet/>
      <dgm:spPr/>
      <dgm:t>
        <a:bodyPr/>
        <a:lstStyle/>
        <a:p>
          <a:endParaRPr lang="en-US"/>
        </a:p>
      </dgm:t>
    </dgm:pt>
    <dgm:pt modelId="{0C3DF66B-1D3C-4E3A-806B-0526B1DBE3FB}" type="pres">
      <dgm:prSet presAssocID="{98DC5160-EF61-482F-B0DD-8A45A5859E75}" presName="diagram" presStyleCnt="0">
        <dgm:presLayoutVars>
          <dgm:dir/>
          <dgm:resizeHandles val="exact"/>
        </dgm:presLayoutVars>
      </dgm:prSet>
      <dgm:spPr/>
    </dgm:pt>
    <dgm:pt modelId="{34CD6D5F-585F-4F8B-A9FE-49F6D05C60B1}" type="pres">
      <dgm:prSet presAssocID="{90B8169F-F338-48C1-96BA-A01461419C5F}" presName="node" presStyleLbl="node1" presStyleIdx="0" presStyleCnt="9">
        <dgm:presLayoutVars>
          <dgm:bulletEnabled val="1"/>
        </dgm:presLayoutVars>
      </dgm:prSet>
      <dgm:spPr/>
    </dgm:pt>
    <dgm:pt modelId="{96ADC625-A55B-4B57-97CD-4FB22FBC269B}" type="pres">
      <dgm:prSet presAssocID="{5AE734F2-6618-4403-BD86-D2DDD9CFF876}" presName="sibTrans" presStyleCnt="0"/>
      <dgm:spPr/>
    </dgm:pt>
    <dgm:pt modelId="{01F9358F-38C8-47C2-8CB2-21C838EEC5CD}" type="pres">
      <dgm:prSet presAssocID="{2346EE7E-1CED-413A-89E0-0FC7341776B1}" presName="node" presStyleLbl="node1" presStyleIdx="1" presStyleCnt="9">
        <dgm:presLayoutVars>
          <dgm:bulletEnabled val="1"/>
        </dgm:presLayoutVars>
      </dgm:prSet>
      <dgm:spPr/>
    </dgm:pt>
    <dgm:pt modelId="{AAF8A79C-B1C7-433A-99EB-EA6EE85AD7E0}" type="pres">
      <dgm:prSet presAssocID="{BC050693-6BBC-4C5A-AE50-C8633138E718}" presName="sibTrans" presStyleCnt="0"/>
      <dgm:spPr/>
    </dgm:pt>
    <dgm:pt modelId="{74057112-81DA-4295-8E26-1C23E3C7B6CF}" type="pres">
      <dgm:prSet presAssocID="{1489F29C-EBC7-4527-830F-82106205CB17}" presName="node" presStyleLbl="node1" presStyleIdx="2" presStyleCnt="9">
        <dgm:presLayoutVars>
          <dgm:bulletEnabled val="1"/>
        </dgm:presLayoutVars>
      </dgm:prSet>
      <dgm:spPr/>
    </dgm:pt>
    <dgm:pt modelId="{EFFA8664-2267-4DD3-A5DA-FBFA50DBABEE}" type="pres">
      <dgm:prSet presAssocID="{BC923B5A-2227-46B5-A6E7-03ED42D03F45}" presName="sibTrans" presStyleCnt="0"/>
      <dgm:spPr/>
    </dgm:pt>
    <dgm:pt modelId="{60699CB8-4BC2-4C65-9C73-D71CD93130AF}" type="pres">
      <dgm:prSet presAssocID="{CEF119A4-D44F-4C50-8692-D919540158F9}" presName="node" presStyleLbl="node1" presStyleIdx="3" presStyleCnt="9">
        <dgm:presLayoutVars>
          <dgm:bulletEnabled val="1"/>
        </dgm:presLayoutVars>
      </dgm:prSet>
      <dgm:spPr/>
    </dgm:pt>
    <dgm:pt modelId="{76969A47-ED2F-4E10-8C43-B5B60C2CA4B5}" type="pres">
      <dgm:prSet presAssocID="{E12B607C-4220-4A96-A6CA-3AB74945CC18}" presName="sibTrans" presStyleCnt="0"/>
      <dgm:spPr/>
    </dgm:pt>
    <dgm:pt modelId="{4B6B3A20-7135-4E53-B962-A37FB447878B}" type="pres">
      <dgm:prSet presAssocID="{BA742E04-12FA-469A-A1BC-E0021FE8B8BF}" presName="node" presStyleLbl="node1" presStyleIdx="4" presStyleCnt="9">
        <dgm:presLayoutVars>
          <dgm:bulletEnabled val="1"/>
        </dgm:presLayoutVars>
      </dgm:prSet>
      <dgm:spPr/>
    </dgm:pt>
    <dgm:pt modelId="{60F28204-CE30-4615-B577-9534B8BBDE1C}" type="pres">
      <dgm:prSet presAssocID="{F92CE09E-B7CE-46EC-A052-3FB255DB549A}" presName="sibTrans" presStyleCnt="0"/>
      <dgm:spPr/>
    </dgm:pt>
    <dgm:pt modelId="{B5FE9A0C-0BEC-40C5-AEE5-6F83A67AFA2D}" type="pres">
      <dgm:prSet presAssocID="{F94B0B57-B7B1-4B2A-A4FE-54A89148F03A}" presName="node" presStyleLbl="node1" presStyleIdx="5" presStyleCnt="9">
        <dgm:presLayoutVars>
          <dgm:bulletEnabled val="1"/>
        </dgm:presLayoutVars>
      </dgm:prSet>
      <dgm:spPr/>
    </dgm:pt>
    <dgm:pt modelId="{0D21577A-48A0-4F8A-BFED-86B70F676C12}" type="pres">
      <dgm:prSet presAssocID="{16105C99-0A44-4B19-8F35-C9DAFC2B0632}" presName="sibTrans" presStyleCnt="0"/>
      <dgm:spPr/>
    </dgm:pt>
    <dgm:pt modelId="{9711DEDC-7AE5-4D94-866E-A0050D230D0C}" type="pres">
      <dgm:prSet presAssocID="{96D17D79-C488-4C09-B263-F32CB9C4B867}" presName="node" presStyleLbl="node1" presStyleIdx="6" presStyleCnt="9">
        <dgm:presLayoutVars>
          <dgm:bulletEnabled val="1"/>
        </dgm:presLayoutVars>
      </dgm:prSet>
      <dgm:spPr/>
    </dgm:pt>
    <dgm:pt modelId="{AD9D925D-DD97-40C8-982A-A6882DA54822}" type="pres">
      <dgm:prSet presAssocID="{2F517AA2-F717-416D-9A95-E0DF52E85458}" presName="sibTrans" presStyleCnt="0"/>
      <dgm:spPr/>
    </dgm:pt>
    <dgm:pt modelId="{E432CD10-DBAC-452B-961F-3295DA95AFBA}" type="pres">
      <dgm:prSet presAssocID="{318FAD3C-9863-403E-9FB2-CA4654DE4A69}" presName="node" presStyleLbl="node1" presStyleIdx="7" presStyleCnt="9">
        <dgm:presLayoutVars>
          <dgm:bulletEnabled val="1"/>
        </dgm:presLayoutVars>
      </dgm:prSet>
      <dgm:spPr/>
    </dgm:pt>
    <dgm:pt modelId="{EC972C46-23FF-4BB6-AB7F-829C9A05A94E}" type="pres">
      <dgm:prSet presAssocID="{CF9B12EF-57D2-4D06-A499-A0E588F6A1BC}" presName="sibTrans" presStyleCnt="0"/>
      <dgm:spPr/>
    </dgm:pt>
    <dgm:pt modelId="{25835213-3CBC-4CB8-82FA-00904C6EAAA7}" type="pres">
      <dgm:prSet presAssocID="{20594BC6-70D5-4447-9026-EB82CFD7A4B3}" presName="node" presStyleLbl="node1" presStyleIdx="8" presStyleCnt="9">
        <dgm:presLayoutVars>
          <dgm:bulletEnabled val="1"/>
        </dgm:presLayoutVars>
      </dgm:prSet>
      <dgm:spPr/>
    </dgm:pt>
  </dgm:ptLst>
  <dgm:cxnLst>
    <dgm:cxn modelId="{F0AC7F05-2171-44C4-BC50-FE127641F16F}" srcId="{98DC5160-EF61-482F-B0DD-8A45A5859E75}" destId="{2346EE7E-1CED-413A-89E0-0FC7341776B1}" srcOrd="1" destOrd="0" parTransId="{2FB0EEE8-88B8-4093-994C-DEEF7B98AF98}" sibTransId="{BC050693-6BBC-4C5A-AE50-C8633138E718}"/>
    <dgm:cxn modelId="{C66D8705-5C82-4BAA-8017-6A1A0FE155EA}" type="presOf" srcId="{CEF119A4-D44F-4C50-8692-D919540158F9}" destId="{60699CB8-4BC2-4C65-9C73-D71CD93130AF}" srcOrd="0" destOrd="0" presId="urn:microsoft.com/office/officeart/2005/8/layout/default"/>
    <dgm:cxn modelId="{8CD98D09-3A4D-4D3C-86D5-57A448DCB6B5}" type="presOf" srcId="{20594BC6-70D5-4447-9026-EB82CFD7A4B3}" destId="{25835213-3CBC-4CB8-82FA-00904C6EAAA7}" srcOrd="0" destOrd="0" presId="urn:microsoft.com/office/officeart/2005/8/layout/default"/>
    <dgm:cxn modelId="{1BEDE52E-3840-4F6E-9E1D-1A7A5A9C7F41}" srcId="{98DC5160-EF61-482F-B0DD-8A45A5859E75}" destId="{96D17D79-C488-4C09-B263-F32CB9C4B867}" srcOrd="6" destOrd="0" parTransId="{EFCB1718-A74A-4AD2-85AC-06A15B254542}" sibTransId="{2F517AA2-F717-416D-9A95-E0DF52E85458}"/>
    <dgm:cxn modelId="{3799E233-1FF1-4BEB-8AC9-D5DA55B26A08}" type="presOf" srcId="{98DC5160-EF61-482F-B0DD-8A45A5859E75}" destId="{0C3DF66B-1D3C-4E3A-806B-0526B1DBE3FB}" srcOrd="0" destOrd="0" presId="urn:microsoft.com/office/officeart/2005/8/layout/default"/>
    <dgm:cxn modelId="{C9CEBA35-7C91-4FD4-BDB5-04402E9819D8}" type="presOf" srcId="{1489F29C-EBC7-4527-830F-82106205CB17}" destId="{74057112-81DA-4295-8E26-1C23E3C7B6CF}" srcOrd="0" destOrd="0" presId="urn:microsoft.com/office/officeart/2005/8/layout/default"/>
    <dgm:cxn modelId="{208C6D36-74CF-4115-8E65-03C51B2FEF18}" srcId="{98DC5160-EF61-482F-B0DD-8A45A5859E75}" destId="{1489F29C-EBC7-4527-830F-82106205CB17}" srcOrd="2" destOrd="0" parTransId="{362AE507-04ED-44AD-87A6-4D419C75FE20}" sibTransId="{BC923B5A-2227-46B5-A6E7-03ED42D03F45}"/>
    <dgm:cxn modelId="{C5DC255D-43E1-4933-AB06-B0B9BBC22286}" srcId="{98DC5160-EF61-482F-B0DD-8A45A5859E75}" destId="{20594BC6-70D5-4447-9026-EB82CFD7A4B3}" srcOrd="8" destOrd="0" parTransId="{49C20FEE-80A5-43B0-A347-6FC6E06BF770}" sibTransId="{C64FCA29-BB25-4526-A862-D5576DCC13BB}"/>
    <dgm:cxn modelId="{C8452744-2CF7-4A6E-90E7-E4A3F942EE5B}" type="presOf" srcId="{2346EE7E-1CED-413A-89E0-0FC7341776B1}" destId="{01F9358F-38C8-47C2-8CB2-21C838EEC5CD}" srcOrd="0" destOrd="0" presId="urn:microsoft.com/office/officeart/2005/8/layout/default"/>
    <dgm:cxn modelId="{C6DDF077-E638-43BF-81E2-32482DFF9E09}" type="presOf" srcId="{F94B0B57-B7B1-4B2A-A4FE-54A89148F03A}" destId="{B5FE9A0C-0BEC-40C5-AEE5-6F83A67AFA2D}" srcOrd="0" destOrd="0" presId="urn:microsoft.com/office/officeart/2005/8/layout/default"/>
    <dgm:cxn modelId="{9A5BD085-972A-4517-9246-7CB372730906}" type="presOf" srcId="{BA742E04-12FA-469A-A1BC-E0021FE8B8BF}" destId="{4B6B3A20-7135-4E53-B962-A37FB447878B}" srcOrd="0" destOrd="0" presId="urn:microsoft.com/office/officeart/2005/8/layout/default"/>
    <dgm:cxn modelId="{9F30C4A7-9C59-45B5-9A15-38CE50618A14}" srcId="{98DC5160-EF61-482F-B0DD-8A45A5859E75}" destId="{90B8169F-F338-48C1-96BA-A01461419C5F}" srcOrd="0" destOrd="0" parTransId="{64D2F8EB-3DFA-4A4C-8236-866AEB61401A}" sibTransId="{5AE734F2-6618-4403-BD86-D2DDD9CFF876}"/>
    <dgm:cxn modelId="{09AAF7B9-C855-41BB-BD4F-7A2D68C3432C}" srcId="{98DC5160-EF61-482F-B0DD-8A45A5859E75}" destId="{CEF119A4-D44F-4C50-8692-D919540158F9}" srcOrd="3" destOrd="0" parTransId="{1E7B4D8B-5098-41CC-A17C-02A91649A92E}" sibTransId="{E12B607C-4220-4A96-A6CA-3AB74945CC18}"/>
    <dgm:cxn modelId="{A557D3BD-44F2-4D88-96C8-68E44F07A32F}" type="presOf" srcId="{318FAD3C-9863-403E-9FB2-CA4654DE4A69}" destId="{E432CD10-DBAC-452B-961F-3295DA95AFBA}" srcOrd="0" destOrd="0" presId="urn:microsoft.com/office/officeart/2005/8/layout/default"/>
    <dgm:cxn modelId="{8A2D1EBF-D54F-46EE-880D-DE4E85693948}" srcId="{98DC5160-EF61-482F-B0DD-8A45A5859E75}" destId="{F94B0B57-B7B1-4B2A-A4FE-54A89148F03A}" srcOrd="5" destOrd="0" parTransId="{2762F591-D67D-4DA2-B29C-892C8DE7B4A3}" sibTransId="{16105C99-0A44-4B19-8F35-C9DAFC2B0632}"/>
    <dgm:cxn modelId="{361F43C8-7BE5-47BF-8068-3E668E5A46CB}" srcId="{98DC5160-EF61-482F-B0DD-8A45A5859E75}" destId="{318FAD3C-9863-403E-9FB2-CA4654DE4A69}" srcOrd="7" destOrd="0" parTransId="{FF525A0F-EB80-4834-B0A7-C88AC34D2588}" sibTransId="{CF9B12EF-57D2-4D06-A499-A0E588F6A1BC}"/>
    <dgm:cxn modelId="{6B974ACE-0FC3-45F2-BD1D-F142EE45CBB2}" type="presOf" srcId="{90B8169F-F338-48C1-96BA-A01461419C5F}" destId="{34CD6D5F-585F-4F8B-A9FE-49F6D05C60B1}" srcOrd="0" destOrd="0" presId="urn:microsoft.com/office/officeart/2005/8/layout/default"/>
    <dgm:cxn modelId="{7C15E3D9-DBC9-4924-9955-B7067E7731A5}" type="presOf" srcId="{96D17D79-C488-4C09-B263-F32CB9C4B867}" destId="{9711DEDC-7AE5-4D94-866E-A0050D230D0C}" srcOrd="0" destOrd="0" presId="urn:microsoft.com/office/officeart/2005/8/layout/default"/>
    <dgm:cxn modelId="{D8AC21F8-CD20-497F-9593-56E6C1F6F91A}" srcId="{98DC5160-EF61-482F-B0DD-8A45A5859E75}" destId="{BA742E04-12FA-469A-A1BC-E0021FE8B8BF}" srcOrd="4" destOrd="0" parTransId="{D38EC767-E385-4C4B-A1CF-012FC2538A3D}" sibTransId="{F92CE09E-B7CE-46EC-A052-3FB255DB549A}"/>
    <dgm:cxn modelId="{179DD6EE-7976-49C1-A2DA-7DFD1E0A1F47}" type="presParOf" srcId="{0C3DF66B-1D3C-4E3A-806B-0526B1DBE3FB}" destId="{34CD6D5F-585F-4F8B-A9FE-49F6D05C60B1}" srcOrd="0" destOrd="0" presId="urn:microsoft.com/office/officeart/2005/8/layout/default"/>
    <dgm:cxn modelId="{E5978DF5-7AE2-4EEF-ADBE-9E88E4735EAE}" type="presParOf" srcId="{0C3DF66B-1D3C-4E3A-806B-0526B1DBE3FB}" destId="{96ADC625-A55B-4B57-97CD-4FB22FBC269B}" srcOrd="1" destOrd="0" presId="urn:microsoft.com/office/officeart/2005/8/layout/default"/>
    <dgm:cxn modelId="{32676528-529F-45B2-B0E7-BC1313070899}" type="presParOf" srcId="{0C3DF66B-1D3C-4E3A-806B-0526B1DBE3FB}" destId="{01F9358F-38C8-47C2-8CB2-21C838EEC5CD}" srcOrd="2" destOrd="0" presId="urn:microsoft.com/office/officeart/2005/8/layout/default"/>
    <dgm:cxn modelId="{F4051F36-4E6C-4673-B4BF-DF5A13415DF8}" type="presParOf" srcId="{0C3DF66B-1D3C-4E3A-806B-0526B1DBE3FB}" destId="{AAF8A79C-B1C7-433A-99EB-EA6EE85AD7E0}" srcOrd="3" destOrd="0" presId="urn:microsoft.com/office/officeart/2005/8/layout/default"/>
    <dgm:cxn modelId="{8173229B-5F9A-4719-AD2F-9EC8CA3C4586}" type="presParOf" srcId="{0C3DF66B-1D3C-4E3A-806B-0526B1DBE3FB}" destId="{74057112-81DA-4295-8E26-1C23E3C7B6CF}" srcOrd="4" destOrd="0" presId="urn:microsoft.com/office/officeart/2005/8/layout/default"/>
    <dgm:cxn modelId="{D2332F0B-75DC-4DE8-BBBE-E4DD990E9F89}" type="presParOf" srcId="{0C3DF66B-1D3C-4E3A-806B-0526B1DBE3FB}" destId="{EFFA8664-2267-4DD3-A5DA-FBFA50DBABEE}" srcOrd="5" destOrd="0" presId="urn:microsoft.com/office/officeart/2005/8/layout/default"/>
    <dgm:cxn modelId="{FF2B615A-FE09-4CC8-B5EE-84F1725B4DFD}" type="presParOf" srcId="{0C3DF66B-1D3C-4E3A-806B-0526B1DBE3FB}" destId="{60699CB8-4BC2-4C65-9C73-D71CD93130AF}" srcOrd="6" destOrd="0" presId="urn:microsoft.com/office/officeart/2005/8/layout/default"/>
    <dgm:cxn modelId="{12924EF2-4E7D-4DAE-A8DC-CD35E090805E}" type="presParOf" srcId="{0C3DF66B-1D3C-4E3A-806B-0526B1DBE3FB}" destId="{76969A47-ED2F-4E10-8C43-B5B60C2CA4B5}" srcOrd="7" destOrd="0" presId="urn:microsoft.com/office/officeart/2005/8/layout/default"/>
    <dgm:cxn modelId="{306129BD-5CCC-4EB1-9B6D-BA527D735B48}" type="presParOf" srcId="{0C3DF66B-1D3C-4E3A-806B-0526B1DBE3FB}" destId="{4B6B3A20-7135-4E53-B962-A37FB447878B}" srcOrd="8" destOrd="0" presId="urn:microsoft.com/office/officeart/2005/8/layout/default"/>
    <dgm:cxn modelId="{FB51E5B7-3C4B-45E7-B731-437D4F098A65}" type="presParOf" srcId="{0C3DF66B-1D3C-4E3A-806B-0526B1DBE3FB}" destId="{60F28204-CE30-4615-B577-9534B8BBDE1C}" srcOrd="9" destOrd="0" presId="urn:microsoft.com/office/officeart/2005/8/layout/default"/>
    <dgm:cxn modelId="{389F6021-CD9D-4D80-A5D2-5A6F0CFE8404}" type="presParOf" srcId="{0C3DF66B-1D3C-4E3A-806B-0526B1DBE3FB}" destId="{B5FE9A0C-0BEC-40C5-AEE5-6F83A67AFA2D}" srcOrd="10" destOrd="0" presId="urn:microsoft.com/office/officeart/2005/8/layout/default"/>
    <dgm:cxn modelId="{3DC401CB-9F67-44A4-AEF0-0F850430144A}" type="presParOf" srcId="{0C3DF66B-1D3C-4E3A-806B-0526B1DBE3FB}" destId="{0D21577A-48A0-4F8A-BFED-86B70F676C12}" srcOrd="11" destOrd="0" presId="urn:microsoft.com/office/officeart/2005/8/layout/default"/>
    <dgm:cxn modelId="{4580491A-D62F-4B93-BBA3-960456DC2DB5}" type="presParOf" srcId="{0C3DF66B-1D3C-4E3A-806B-0526B1DBE3FB}" destId="{9711DEDC-7AE5-4D94-866E-A0050D230D0C}" srcOrd="12" destOrd="0" presId="urn:microsoft.com/office/officeart/2005/8/layout/default"/>
    <dgm:cxn modelId="{F4090B3C-75F0-4DEF-B567-6209E00A7D71}" type="presParOf" srcId="{0C3DF66B-1D3C-4E3A-806B-0526B1DBE3FB}" destId="{AD9D925D-DD97-40C8-982A-A6882DA54822}" srcOrd="13" destOrd="0" presId="urn:microsoft.com/office/officeart/2005/8/layout/default"/>
    <dgm:cxn modelId="{168D5F9C-4562-4BB2-B018-65A5C9E0A639}" type="presParOf" srcId="{0C3DF66B-1D3C-4E3A-806B-0526B1DBE3FB}" destId="{E432CD10-DBAC-452B-961F-3295DA95AFBA}" srcOrd="14" destOrd="0" presId="urn:microsoft.com/office/officeart/2005/8/layout/default"/>
    <dgm:cxn modelId="{F8CCEEB6-A14D-4B52-809F-92DB15D6BE77}" type="presParOf" srcId="{0C3DF66B-1D3C-4E3A-806B-0526B1DBE3FB}" destId="{EC972C46-23FF-4BB6-AB7F-829C9A05A94E}" srcOrd="15" destOrd="0" presId="urn:microsoft.com/office/officeart/2005/8/layout/default"/>
    <dgm:cxn modelId="{786C9716-CA85-4239-9F52-09A35AB1AD10}" type="presParOf" srcId="{0C3DF66B-1D3C-4E3A-806B-0526B1DBE3FB}" destId="{25835213-3CBC-4CB8-82FA-00904C6EAAA7}" srcOrd="1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8DC5160-EF61-482F-B0DD-8A45A5859E75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0B8169F-F338-48C1-96BA-A01461419C5F}">
      <dgm:prSet/>
      <dgm:spPr/>
      <dgm:t>
        <a:bodyPr/>
        <a:lstStyle/>
        <a:p>
          <a:r>
            <a:rPr lang="en-US" baseline="0"/>
            <a:t>Nullable Reference Types</a:t>
          </a:r>
          <a:endParaRPr lang="en-US"/>
        </a:p>
      </dgm:t>
    </dgm:pt>
    <dgm:pt modelId="{64D2F8EB-3DFA-4A4C-8236-866AEB61401A}" type="parTrans" cxnId="{9F30C4A7-9C59-45B5-9A15-38CE50618A14}">
      <dgm:prSet/>
      <dgm:spPr/>
      <dgm:t>
        <a:bodyPr/>
        <a:lstStyle/>
        <a:p>
          <a:endParaRPr lang="en-US"/>
        </a:p>
      </dgm:t>
    </dgm:pt>
    <dgm:pt modelId="{5AE734F2-6618-4403-BD86-D2DDD9CFF876}" type="sibTrans" cxnId="{9F30C4A7-9C59-45B5-9A15-38CE50618A14}">
      <dgm:prSet/>
      <dgm:spPr/>
      <dgm:t>
        <a:bodyPr/>
        <a:lstStyle/>
        <a:p>
          <a:endParaRPr lang="en-US"/>
        </a:p>
      </dgm:t>
    </dgm:pt>
    <dgm:pt modelId="{2346EE7E-1CED-413A-89E0-0FC7341776B1}">
      <dgm:prSet/>
      <dgm:spPr/>
      <dgm:t>
        <a:bodyPr/>
        <a:lstStyle/>
        <a:p>
          <a:r>
            <a:rPr lang="en-US" baseline="0"/>
            <a:t>More Patterns</a:t>
          </a:r>
          <a:endParaRPr lang="en-US"/>
        </a:p>
      </dgm:t>
    </dgm:pt>
    <dgm:pt modelId="{2FB0EEE8-88B8-4093-994C-DEEF7B98AF98}" type="parTrans" cxnId="{F0AC7F05-2171-44C4-BC50-FE127641F16F}">
      <dgm:prSet/>
      <dgm:spPr/>
      <dgm:t>
        <a:bodyPr/>
        <a:lstStyle/>
        <a:p>
          <a:endParaRPr lang="en-US"/>
        </a:p>
      </dgm:t>
    </dgm:pt>
    <dgm:pt modelId="{BC050693-6BBC-4C5A-AE50-C8633138E718}" type="sibTrans" cxnId="{F0AC7F05-2171-44C4-BC50-FE127641F16F}">
      <dgm:prSet/>
      <dgm:spPr/>
      <dgm:t>
        <a:bodyPr/>
        <a:lstStyle/>
        <a:p>
          <a:endParaRPr lang="en-US"/>
        </a:p>
      </dgm:t>
    </dgm:pt>
    <dgm:pt modelId="{1489F29C-EBC7-4527-830F-82106205CB17}">
      <dgm:prSet/>
      <dgm:spPr/>
      <dgm:t>
        <a:bodyPr/>
        <a:lstStyle/>
        <a:p>
          <a:r>
            <a:rPr lang="en-US" baseline="0"/>
            <a:t>Indices and Ranges</a:t>
          </a:r>
          <a:endParaRPr lang="en-US"/>
        </a:p>
      </dgm:t>
    </dgm:pt>
    <dgm:pt modelId="{362AE507-04ED-44AD-87A6-4D419C75FE20}" type="parTrans" cxnId="{208C6D36-74CF-4115-8E65-03C51B2FEF18}">
      <dgm:prSet/>
      <dgm:spPr/>
      <dgm:t>
        <a:bodyPr/>
        <a:lstStyle/>
        <a:p>
          <a:endParaRPr lang="en-US"/>
        </a:p>
      </dgm:t>
    </dgm:pt>
    <dgm:pt modelId="{BC923B5A-2227-46B5-A6E7-03ED42D03F45}" type="sibTrans" cxnId="{208C6D36-74CF-4115-8E65-03C51B2FEF18}">
      <dgm:prSet/>
      <dgm:spPr/>
      <dgm:t>
        <a:bodyPr/>
        <a:lstStyle/>
        <a:p>
          <a:endParaRPr lang="en-US"/>
        </a:p>
      </dgm:t>
    </dgm:pt>
    <dgm:pt modelId="{CEF119A4-D44F-4C50-8692-D919540158F9}">
      <dgm:prSet/>
      <dgm:spPr/>
      <dgm:t>
        <a:bodyPr/>
        <a:lstStyle/>
        <a:p>
          <a:r>
            <a:rPr lang="en-US" baseline="0"/>
            <a:t>Static Local Functions</a:t>
          </a:r>
          <a:endParaRPr lang="en-US"/>
        </a:p>
      </dgm:t>
    </dgm:pt>
    <dgm:pt modelId="{1E7B4D8B-5098-41CC-A17C-02A91649A92E}" type="parTrans" cxnId="{09AAF7B9-C855-41BB-BD4F-7A2D68C3432C}">
      <dgm:prSet/>
      <dgm:spPr/>
      <dgm:t>
        <a:bodyPr/>
        <a:lstStyle/>
        <a:p>
          <a:endParaRPr lang="en-US"/>
        </a:p>
      </dgm:t>
    </dgm:pt>
    <dgm:pt modelId="{E12B607C-4220-4A96-A6CA-3AB74945CC18}" type="sibTrans" cxnId="{09AAF7B9-C855-41BB-BD4F-7A2D68C3432C}">
      <dgm:prSet/>
      <dgm:spPr/>
      <dgm:t>
        <a:bodyPr/>
        <a:lstStyle/>
        <a:p>
          <a:endParaRPr lang="en-US"/>
        </a:p>
      </dgm:t>
    </dgm:pt>
    <dgm:pt modelId="{BA742E04-12FA-469A-A1BC-E0021FE8B8BF}">
      <dgm:prSet/>
      <dgm:spPr/>
      <dgm:t>
        <a:bodyPr/>
        <a:lstStyle/>
        <a:p>
          <a:r>
            <a:rPr lang="en-US" baseline="0"/>
            <a:t>using Declarations</a:t>
          </a:r>
          <a:endParaRPr lang="en-US"/>
        </a:p>
      </dgm:t>
    </dgm:pt>
    <dgm:pt modelId="{D38EC767-E385-4C4B-A1CF-012FC2538A3D}" type="parTrans" cxnId="{D8AC21F8-CD20-497F-9593-56E6C1F6F91A}">
      <dgm:prSet/>
      <dgm:spPr/>
      <dgm:t>
        <a:bodyPr/>
        <a:lstStyle/>
        <a:p>
          <a:endParaRPr lang="en-US"/>
        </a:p>
      </dgm:t>
    </dgm:pt>
    <dgm:pt modelId="{F92CE09E-B7CE-46EC-A052-3FB255DB549A}" type="sibTrans" cxnId="{D8AC21F8-CD20-497F-9593-56E6C1F6F91A}">
      <dgm:prSet/>
      <dgm:spPr/>
      <dgm:t>
        <a:bodyPr/>
        <a:lstStyle/>
        <a:p>
          <a:endParaRPr lang="en-US"/>
        </a:p>
      </dgm:t>
    </dgm:pt>
    <dgm:pt modelId="{F94B0B57-B7B1-4B2A-A4FE-54A89148F03A}">
      <dgm:prSet/>
      <dgm:spPr/>
      <dgm:t>
        <a:bodyPr/>
        <a:lstStyle/>
        <a:p>
          <a:r>
            <a:rPr lang="en-US" baseline="0"/>
            <a:t>Async Streams</a:t>
          </a:r>
          <a:endParaRPr lang="en-US"/>
        </a:p>
      </dgm:t>
    </dgm:pt>
    <dgm:pt modelId="{2762F591-D67D-4DA2-B29C-892C8DE7B4A3}" type="parTrans" cxnId="{8A2D1EBF-D54F-46EE-880D-DE4E85693948}">
      <dgm:prSet/>
      <dgm:spPr/>
      <dgm:t>
        <a:bodyPr/>
        <a:lstStyle/>
        <a:p>
          <a:endParaRPr lang="en-US"/>
        </a:p>
      </dgm:t>
    </dgm:pt>
    <dgm:pt modelId="{16105C99-0A44-4B19-8F35-C9DAFC2B0632}" type="sibTrans" cxnId="{8A2D1EBF-D54F-46EE-880D-DE4E85693948}">
      <dgm:prSet/>
      <dgm:spPr/>
      <dgm:t>
        <a:bodyPr/>
        <a:lstStyle/>
        <a:p>
          <a:endParaRPr lang="en-US"/>
        </a:p>
      </dgm:t>
    </dgm:pt>
    <dgm:pt modelId="{96D17D79-C488-4C09-B263-F32CB9C4B867}">
      <dgm:prSet/>
      <dgm:spPr/>
      <dgm:t>
        <a:bodyPr/>
        <a:lstStyle/>
        <a:p>
          <a:r>
            <a:rPr lang="en-US" baseline="0" dirty="0"/>
            <a:t>Default Interface Members</a:t>
          </a:r>
          <a:endParaRPr lang="en-US" dirty="0"/>
        </a:p>
      </dgm:t>
    </dgm:pt>
    <dgm:pt modelId="{EFCB1718-A74A-4AD2-85AC-06A15B254542}" type="parTrans" cxnId="{1BEDE52E-3840-4F6E-9E1D-1A7A5A9C7F41}">
      <dgm:prSet/>
      <dgm:spPr/>
      <dgm:t>
        <a:bodyPr/>
        <a:lstStyle/>
        <a:p>
          <a:endParaRPr lang="en-US"/>
        </a:p>
      </dgm:t>
    </dgm:pt>
    <dgm:pt modelId="{2F517AA2-F717-416D-9A95-E0DF52E85458}" type="sibTrans" cxnId="{1BEDE52E-3840-4F6E-9E1D-1A7A5A9C7F41}">
      <dgm:prSet/>
      <dgm:spPr/>
      <dgm:t>
        <a:bodyPr/>
        <a:lstStyle/>
        <a:p>
          <a:endParaRPr lang="en-US"/>
        </a:p>
      </dgm:t>
    </dgm:pt>
    <dgm:pt modelId="{318FAD3C-9863-403E-9FB2-CA4654DE4A69}">
      <dgm:prSet/>
      <dgm:spPr/>
      <dgm:t>
        <a:bodyPr/>
        <a:lstStyle/>
        <a:p>
          <a:r>
            <a:rPr lang="en-US" baseline="0" dirty="0"/>
            <a:t>Struct </a:t>
          </a:r>
          <a:r>
            <a:rPr lang="en-US" baseline="0" dirty="0" err="1"/>
            <a:t>Readonly</a:t>
          </a:r>
          <a:r>
            <a:rPr lang="en-US" baseline="0" dirty="0"/>
            <a:t> Members</a:t>
          </a:r>
          <a:endParaRPr lang="en-US" dirty="0"/>
        </a:p>
      </dgm:t>
    </dgm:pt>
    <dgm:pt modelId="{FF525A0F-EB80-4834-B0A7-C88AC34D2588}" type="parTrans" cxnId="{361F43C8-7BE5-47BF-8068-3E668E5A46CB}">
      <dgm:prSet/>
      <dgm:spPr/>
      <dgm:t>
        <a:bodyPr/>
        <a:lstStyle/>
        <a:p>
          <a:endParaRPr lang="en-US"/>
        </a:p>
      </dgm:t>
    </dgm:pt>
    <dgm:pt modelId="{CF9B12EF-57D2-4D06-A499-A0E588F6A1BC}" type="sibTrans" cxnId="{361F43C8-7BE5-47BF-8068-3E668E5A46CB}">
      <dgm:prSet/>
      <dgm:spPr/>
      <dgm:t>
        <a:bodyPr/>
        <a:lstStyle/>
        <a:p>
          <a:endParaRPr lang="en-US"/>
        </a:p>
      </dgm:t>
    </dgm:pt>
    <dgm:pt modelId="{09A03695-A8C1-40F3-B595-C839459FCFF9}">
      <dgm:prSet/>
      <dgm:spPr/>
      <dgm:t>
        <a:bodyPr/>
        <a:lstStyle/>
        <a:p>
          <a:r>
            <a:rPr lang="en-US" baseline="0"/>
            <a:t>Disposable ref structs</a:t>
          </a:r>
          <a:endParaRPr lang="en-US" dirty="0"/>
        </a:p>
      </dgm:t>
    </dgm:pt>
    <dgm:pt modelId="{393E4AD9-2D44-4A75-B522-22AA623ACA2E}" type="parTrans" cxnId="{336F05CC-3717-42CD-A919-5C8B2D4857A1}">
      <dgm:prSet/>
      <dgm:spPr/>
      <dgm:t>
        <a:bodyPr/>
        <a:lstStyle/>
        <a:p>
          <a:endParaRPr lang="en-US"/>
        </a:p>
      </dgm:t>
    </dgm:pt>
    <dgm:pt modelId="{B9F9DA3C-8640-4806-8889-D221E4047537}" type="sibTrans" cxnId="{336F05CC-3717-42CD-A919-5C8B2D4857A1}">
      <dgm:prSet/>
      <dgm:spPr/>
      <dgm:t>
        <a:bodyPr/>
        <a:lstStyle/>
        <a:p>
          <a:endParaRPr lang="en-US"/>
        </a:p>
      </dgm:t>
    </dgm:pt>
    <dgm:pt modelId="{0C3DF66B-1D3C-4E3A-806B-0526B1DBE3FB}" type="pres">
      <dgm:prSet presAssocID="{98DC5160-EF61-482F-B0DD-8A45A5859E75}" presName="diagram" presStyleCnt="0">
        <dgm:presLayoutVars>
          <dgm:dir/>
          <dgm:resizeHandles val="exact"/>
        </dgm:presLayoutVars>
      </dgm:prSet>
      <dgm:spPr/>
    </dgm:pt>
    <dgm:pt modelId="{34CD6D5F-585F-4F8B-A9FE-49F6D05C60B1}" type="pres">
      <dgm:prSet presAssocID="{90B8169F-F338-48C1-96BA-A01461419C5F}" presName="node" presStyleLbl="node1" presStyleIdx="0" presStyleCnt="9">
        <dgm:presLayoutVars>
          <dgm:bulletEnabled val="1"/>
        </dgm:presLayoutVars>
      </dgm:prSet>
      <dgm:spPr/>
    </dgm:pt>
    <dgm:pt modelId="{96ADC625-A55B-4B57-97CD-4FB22FBC269B}" type="pres">
      <dgm:prSet presAssocID="{5AE734F2-6618-4403-BD86-D2DDD9CFF876}" presName="sibTrans" presStyleCnt="0"/>
      <dgm:spPr/>
    </dgm:pt>
    <dgm:pt modelId="{01F9358F-38C8-47C2-8CB2-21C838EEC5CD}" type="pres">
      <dgm:prSet presAssocID="{2346EE7E-1CED-413A-89E0-0FC7341776B1}" presName="node" presStyleLbl="node1" presStyleIdx="1" presStyleCnt="9">
        <dgm:presLayoutVars>
          <dgm:bulletEnabled val="1"/>
        </dgm:presLayoutVars>
      </dgm:prSet>
      <dgm:spPr/>
    </dgm:pt>
    <dgm:pt modelId="{AAF8A79C-B1C7-433A-99EB-EA6EE85AD7E0}" type="pres">
      <dgm:prSet presAssocID="{BC050693-6BBC-4C5A-AE50-C8633138E718}" presName="sibTrans" presStyleCnt="0"/>
      <dgm:spPr/>
    </dgm:pt>
    <dgm:pt modelId="{74057112-81DA-4295-8E26-1C23E3C7B6CF}" type="pres">
      <dgm:prSet presAssocID="{1489F29C-EBC7-4527-830F-82106205CB17}" presName="node" presStyleLbl="node1" presStyleIdx="2" presStyleCnt="9">
        <dgm:presLayoutVars>
          <dgm:bulletEnabled val="1"/>
        </dgm:presLayoutVars>
      </dgm:prSet>
      <dgm:spPr/>
    </dgm:pt>
    <dgm:pt modelId="{EFFA8664-2267-4DD3-A5DA-FBFA50DBABEE}" type="pres">
      <dgm:prSet presAssocID="{BC923B5A-2227-46B5-A6E7-03ED42D03F45}" presName="sibTrans" presStyleCnt="0"/>
      <dgm:spPr/>
    </dgm:pt>
    <dgm:pt modelId="{60699CB8-4BC2-4C65-9C73-D71CD93130AF}" type="pres">
      <dgm:prSet presAssocID="{CEF119A4-D44F-4C50-8692-D919540158F9}" presName="node" presStyleLbl="node1" presStyleIdx="3" presStyleCnt="9">
        <dgm:presLayoutVars>
          <dgm:bulletEnabled val="1"/>
        </dgm:presLayoutVars>
      </dgm:prSet>
      <dgm:spPr/>
    </dgm:pt>
    <dgm:pt modelId="{76969A47-ED2F-4E10-8C43-B5B60C2CA4B5}" type="pres">
      <dgm:prSet presAssocID="{E12B607C-4220-4A96-A6CA-3AB74945CC18}" presName="sibTrans" presStyleCnt="0"/>
      <dgm:spPr/>
    </dgm:pt>
    <dgm:pt modelId="{4B6B3A20-7135-4E53-B962-A37FB447878B}" type="pres">
      <dgm:prSet presAssocID="{BA742E04-12FA-469A-A1BC-E0021FE8B8BF}" presName="node" presStyleLbl="node1" presStyleIdx="4" presStyleCnt="9">
        <dgm:presLayoutVars>
          <dgm:bulletEnabled val="1"/>
        </dgm:presLayoutVars>
      </dgm:prSet>
      <dgm:spPr/>
    </dgm:pt>
    <dgm:pt modelId="{60F28204-CE30-4615-B577-9534B8BBDE1C}" type="pres">
      <dgm:prSet presAssocID="{F92CE09E-B7CE-46EC-A052-3FB255DB549A}" presName="sibTrans" presStyleCnt="0"/>
      <dgm:spPr/>
    </dgm:pt>
    <dgm:pt modelId="{B5FE9A0C-0BEC-40C5-AEE5-6F83A67AFA2D}" type="pres">
      <dgm:prSet presAssocID="{F94B0B57-B7B1-4B2A-A4FE-54A89148F03A}" presName="node" presStyleLbl="node1" presStyleIdx="5" presStyleCnt="9">
        <dgm:presLayoutVars>
          <dgm:bulletEnabled val="1"/>
        </dgm:presLayoutVars>
      </dgm:prSet>
      <dgm:spPr/>
    </dgm:pt>
    <dgm:pt modelId="{0D21577A-48A0-4F8A-BFED-86B70F676C12}" type="pres">
      <dgm:prSet presAssocID="{16105C99-0A44-4B19-8F35-C9DAFC2B0632}" presName="sibTrans" presStyleCnt="0"/>
      <dgm:spPr/>
    </dgm:pt>
    <dgm:pt modelId="{9711DEDC-7AE5-4D94-866E-A0050D230D0C}" type="pres">
      <dgm:prSet presAssocID="{96D17D79-C488-4C09-B263-F32CB9C4B867}" presName="node" presStyleLbl="node1" presStyleIdx="6" presStyleCnt="9">
        <dgm:presLayoutVars>
          <dgm:bulletEnabled val="1"/>
        </dgm:presLayoutVars>
      </dgm:prSet>
      <dgm:spPr/>
    </dgm:pt>
    <dgm:pt modelId="{AD9D925D-DD97-40C8-982A-A6882DA54822}" type="pres">
      <dgm:prSet presAssocID="{2F517AA2-F717-416D-9A95-E0DF52E85458}" presName="sibTrans" presStyleCnt="0"/>
      <dgm:spPr/>
    </dgm:pt>
    <dgm:pt modelId="{E432CD10-DBAC-452B-961F-3295DA95AFBA}" type="pres">
      <dgm:prSet presAssocID="{318FAD3C-9863-403E-9FB2-CA4654DE4A69}" presName="node" presStyleLbl="node1" presStyleIdx="7" presStyleCnt="9">
        <dgm:presLayoutVars>
          <dgm:bulletEnabled val="1"/>
        </dgm:presLayoutVars>
      </dgm:prSet>
      <dgm:spPr/>
    </dgm:pt>
    <dgm:pt modelId="{43E76C6E-4EA5-4935-8FF0-5CA6B3CE800F}" type="pres">
      <dgm:prSet presAssocID="{CF9B12EF-57D2-4D06-A499-A0E588F6A1BC}" presName="sibTrans" presStyleCnt="0"/>
      <dgm:spPr/>
    </dgm:pt>
    <dgm:pt modelId="{2F6022A3-E6D6-4284-AD4E-FEA34E6D460F}" type="pres">
      <dgm:prSet presAssocID="{09A03695-A8C1-40F3-B595-C839459FCFF9}" presName="node" presStyleLbl="node1" presStyleIdx="8" presStyleCnt="9">
        <dgm:presLayoutVars>
          <dgm:bulletEnabled val="1"/>
        </dgm:presLayoutVars>
      </dgm:prSet>
      <dgm:spPr/>
    </dgm:pt>
  </dgm:ptLst>
  <dgm:cxnLst>
    <dgm:cxn modelId="{F0AC7F05-2171-44C4-BC50-FE127641F16F}" srcId="{98DC5160-EF61-482F-B0DD-8A45A5859E75}" destId="{2346EE7E-1CED-413A-89E0-0FC7341776B1}" srcOrd="1" destOrd="0" parTransId="{2FB0EEE8-88B8-4093-994C-DEEF7B98AF98}" sibTransId="{BC050693-6BBC-4C5A-AE50-C8633138E718}"/>
    <dgm:cxn modelId="{C66D8705-5C82-4BAA-8017-6A1A0FE155EA}" type="presOf" srcId="{CEF119A4-D44F-4C50-8692-D919540158F9}" destId="{60699CB8-4BC2-4C65-9C73-D71CD93130AF}" srcOrd="0" destOrd="0" presId="urn:microsoft.com/office/officeart/2005/8/layout/default"/>
    <dgm:cxn modelId="{1BEDE52E-3840-4F6E-9E1D-1A7A5A9C7F41}" srcId="{98DC5160-EF61-482F-B0DD-8A45A5859E75}" destId="{96D17D79-C488-4C09-B263-F32CB9C4B867}" srcOrd="6" destOrd="0" parTransId="{EFCB1718-A74A-4AD2-85AC-06A15B254542}" sibTransId="{2F517AA2-F717-416D-9A95-E0DF52E85458}"/>
    <dgm:cxn modelId="{3799E233-1FF1-4BEB-8AC9-D5DA55B26A08}" type="presOf" srcId="{98DC5160-EF61-482F-B0DD-8A45A5859E75}" destId="{0C3DF66B-1D3C-4E3A-806B-0526B1DBE3FB}" srcOrd="0" destOrd="0" presId="urn:microsoft.com/office/officeart/2005/8/layout/default"/>
    <dgm:cxn modelId="{C9CEBA35-7C91-4FD4-BDB5-04402E9819D8}" type="presOf" srcId="{1489F29C-EBC7-4527-830F-82106205CB17}" destId="{74057112-81DA-4295-8E26-1C23E3C7B6CF}" srcOrd="0" destOrd="0" presId="urn:microsoft.com/office/officeart/2005/8/layout/default"/>
    <dgm:cxn modelId="{208C6D36-74CF-4115-8E65-03C51B2FEF18}" srcId="{98DC5160-EF61-482F-B0DD-8A45A5859E75}" destId="{1489F29C-EBC7-4527-830F-82106205CB17}" srcOrd="2" destOrd="0" parTransId="{362AE507-04ED-44AD-87A6-4D419C75FE20}" sibTransId="{BC923B5A-2227-46B5-A6E7-03ED42D03F45}"/>
    <dgm:cxn modelId="{C8452744-2CF7-4A6E-90E7-E4A3F942EE5B}" type="presOf" srcId="{2346EE7E-1CED-413A-89E0-0FC7341776B1}" destId="{01F9358F-38C8-47C2-8CB2-21C838EEC5CD}" srcOrd="0" destOrd="0" presId="urn:microsoft.com/office/officeart/2005/8/layout/default"/>
    <dgm:cxn modelId="{C6DDF077-E638-43BF-81E2-32482DFF9E09}" type="presOf" srcId="{F94B0B57-B7B1-4B2A-A4FE-54A89148F03A}" destId="{B5FE9A0C-0BEC-40C5-AEE5-6F83A67AFA2D}" srcOrd="0" destOrd="0" presId="urn:microsoft.com/office/officeart/2005/8/layout/default"/>
    <dgm:cxn modelId="{9A5BD085-972A-4517-9246-7CB372730906}" type="presOf" srcId="{BA742E04-12FA-469A-A1BC-E0021FE8B8BF}" destId="{4B6B3A20-7135-4E53-B962-A37FB447878B}" srcOrd="0" destOrd="0" presId="urn:microsoft.com/office/officeart/2005/8/layout/default"/>
    <dgm:cxn modelId="{9F30C4A7-9C59-45B5-9A15-38CE50618A14}" srcId="{98DC5160-EF61-482F-B0DD-8A45A5859E75}" destId="{90B8169F-F338-48C1-96BA-A01461419C5F}" srcOrd="0" destOrd="0" parTransId="{64D2F8EB-3DFA-4A4C-8236-866AEB61401A}" sibTransId="{5AE734F2-6618-4403-BD86-D2DDD9CFF876}"/>
    <dgm:cxn modelId="{09AAF7B9-C855-41BB-BD4F-7A2D68C3432C}" srcId="{98DC5160-EF61-482F-B0DD-8A45A5859E75}" destId="{CEF119A4-D44F-4C50-8692-D919540158F9}" srcOrd="3" destOrd="0" parTransId="{1E7B4D8B-5098-41CC-A17C-02A91649A92E}" sibTransId="{E12B607C-4220-4A96-A6CA-3AB74945CC18}"/>
    <dgm:cxn modelId="{A557D3BD-44F2-4D88-96C8-68E44F07A32F}" type="presOf" srcId="{318FAD3C-9863-403E-9FB2-CA4654DE4A69}" destId="{E432CD10-DBAC-452B-961F-3295DA95AFBA}" srcOrd="0" destOrd="0" presId="urn:microsoft.com/office/officeart/2005/8/layout/default"/>
    <dgm:cxn modelId="{8A2D1EBF-D54F-46EE-880D-DE4E85693948}" srcId="{98DC5160-EF61-482F-B0DD-8A45A5859E75}" destId="{F94B0B57-B7B1-4B2A-A4FE-54A89148F03A}" srcOrd="5" destOrd="0" parTransId="{2762F591-D67D-4DA2-B29C-892C8DE7B4A3}" sibTransId="{16105C99-0A44-4B19-8F35-C9DAFC2B0632}"/>
    <dgm:cxn modelId="{361F43C8-7BE5-47BF-8068-3E668E5A46CB}" srcId="{98DC5160-EF61-482F-B0DD-8A45A5859E75}" destId="{318FAD3C-9863-403E-9FB2-CA4654DE4A69}" srcOrd="7" destOrd="0" parTransId="{FF525A0F-EB80-4834-B0A7-C88AC34D2588}" sibTransId="{CF9B12EF-57D2-4D06-A499-A0E588F6A1BC}"/>
    <dgm:cxn modelId="{336F05CC-3717-42CD-A919-5C8B2D4857A1}" srcId="{98DC5160-EF61-482F-B0DD-8A45A5859E75}" destId="{09A03695-A8C1-40F3-B595-C839459FCFF9}" srcOrd="8" destOrd="0" parTransId="{393E4AD9-2D44-4A75-B522-22AA623ACA2E}" sibTransId="{B9F9DA3C-8640-4806-8889-D221E4047537}"/>
    <dgm:cxn modelId="{6B974ACE-0FC3-45F2-BD1D-F142EE45CBB2}" type="presOf" srcId="{90B8169F-F338-48C1-96BA-A01461419C5F}" destId="{34CD6D5F-585F-4F8B-A9FE-49F6D05C60B1}" srcOrd="0" destOrd="0" presId="urn:microsoft.com/office/officeart/2005/8/layout/default"/>
    <dgm:cxn modelId="{7C15E3D9-DBC9-4924-9955-B7067E7731A5}" type="presOf" srcId="{96D17D79-C488-4C09-B263-F32CB9C4B867}" destId="{9711DEDC-7AE5-4D94-866E-A0050D230D0C}" srcOrd="0" destOrd="0" presId="urn:microsoft.com/office/officeart/2005/8/layout/default"/>
    <dgm:cxn modelId="{D8AC21F8-CD20-497F-9593-56E6C1F6F91A}" srcId="{98DC5160-EF61-482F-B0DD-8A45A5859E75}" destId="{BA742E04-12FA-469A-A1BC-E0021FE8B8BF}" srcOrd="4" destOrd="0" parTransId="{D38EC767-E385-4C4B-A1CF-012FC2538A3D}" sibTransId="{F92CE09E-B7CE-46EC-A052-3FB255DB549A}"/>
    <dgm:cxn modelId="{0A47E8F8-4394-4CBA-BDEC-E7B10106DAA1}" type="presOf" srcId="{09A03695-A8C1-40F3-B595-C839459FCFF9}" destId="{2F6022A3-E6D6-4284-AD4E-FEA34E6D460F}" srcOrd="0" destOrd="0" presId="urn:microsoft.com/office/officeart/2005/8/layout/default"/>
    <dgm:cxn modelId="{179DD6EE-7976-49C1-A2DA-7DFD1E0A1F47}" type="presParOf" srcId="{0C3DF66B-1D3C-4E3A-806B-0526B1DBE3FB}" destId="{34CD6D5F-585F-4F8B-A9FE-49F6D05C60B1}" srcOrd="0" destOrd="0" presId="urn:microsoft.com/office/officeart/2005/8/layout/default"/>
    <dgm:cxn modelId="{E5978DF5-7AE2-4EEF-ADBE-9E88E4735EAE}" type="presParOf" srcId="{0C3DF66B-1D3C-4E3A-806B-0526B1DBE3FB}" destId="{96ADC625-A55B-4B57-97CD-4FB22FBC269B}" srcOrd="1" destOrd="0" presId="urn:microsoft.com/office/officeart/2005/8/layout/default"/>
    <dgm:cxn modelId="{32676528-529F-45B2-B0E7-BC1313070899}" type="presParOf" srcId="{0C3DF66B-1D3C-4E3A-806B-0526B1DBE3FB}" destId="{01F9358F-38C8-47C2-8CB2-21C838EEC5CD}" srcOrd="2" destOrd="0" presId="urn:microsoft.com/office/officeart/2005/8/layout/default"/>
    <dgm:cxn modelId="{F4051F36-4E6C-4673-B4BF-DF5A13415DF8}" type="presParOf" srcId="{0C3DF66B-1D3C-4E3A-806B-0526B1DBE3FB}" destId="{AAF8A79C-B1C7-433A-99EB-EA6EE85AD7E0}" srcOrd="3" destOrd="0" presId="urn:microsoft.com/office/officeart/2005/8/layout/default"/>
    <dgm:cxn modelId="{8173229B-5F9A-4719-AD2F-9EC8CA3C4586}" type="presParOf" srcId="{0C3DF66B-1D3C-4E3A-806B-0526B1DBE3FB}" destId="{74057112-81DA-4295-8E26-1C23E3C7B6CF}" srcOrd="4" destOrd="0" presId="urn:microsoft.com/office/officeart/2005/8/layout/default"/>
    <dgm:cxn modelId="{D2332F0B-75DC-4DE8-BBBE-E4DD990E9F89}" type="presParOf" srcId="{0C3DF66B-1D3C-4E3A-806B-0526B1DBE3FB}" destId="{EFFA8664-2267-4DD3-A5DA-FBFA50DBABEE}" srcOrd="5" destOrd="0" presId="urn:microsoft.com/office/officeart/2005/8/layout/default"/>
    <dgm:cxn modelId="{FF2B615A-FE09-4CC8-B5EE-84F1725B4DFD}" type="presParOf" srcId="{0C3DF66B-1D3C-4E3A-806B-0526B1DBE3FB}" destId="{60699CB8-4BC2-4C65-9C73-D71CD93130AF}" srcOrd="6" destOrd="0" presId="urn:microsoft.com/office/officeart/2005/8/layout/default"/>
    <dgm:cxn modelId="{12924EF2-4E7D-4DAE-A8DC-CD35E090805E}" type="presParOf" srcId="{0C3DF66B-1D3C-4E3A-806B-0526B1DBE3FB}" destId="{76969A47-ED2F-4E10-8C43-B5B60C2CA4B5}" srcOrd="7" destOrd="0" presId="urn:microsoft.com/office/officeart/2005/8/layout/default"/>
    <dgm:cxn modelId="{306129BD-5CCC-4EB1-9B6D-BA527D735B48}" type="presParOf" srcId="{0C3DF66B-1D3C-4E3A-806B-0526B1DBE3FB}" destId="{4B6B3A20-7135-4E53-B962-A37FB447878B}" srcOrd="8" destOrd="0" presId="urn:microsoft.com/office/officeart/2005/8/layout/default"/>
    <dgm:cxn modelId="{FB51E5B7-3C4B-45E7-B731-437D4F098A65}" type="presParOf" srcId="{0C3DF66B-1D3C-4E3A-806B-0526B1DBE3FB}" destId="{60F28204-CE30-4615-B577-9534B8BBDE1C}" srcOrd="9" destOrd="0" presId="urn:microsoft.com/office/officeart/2005/8/layout/default"/>
    <dgm:cxn modelId="{389F6021-CD9D-4D80-A5D2-5A6F0CFE8404}" type="presParOf" srcId="{0C3DF66B-1D3C-4E3A-806B-0526B1DBE3FB}" destId="{B5FE9A0C-0BEC-40C5-AEE5-6F83A67AFA2D}" srcOrd="10" destOrd="0" presId="urn:microsoft.com/office/officeart/2005/8/layout/default"/>
    <dgm:cxn modelId="{3DC401CB-9F67-44A4-AEF0-0F850430144A}" type="presParOf" srcId="{0C3DF66B-1D3C-4E3A-806B-0526B1DBE3FB}" destId="{0D21577A-48A0-4F8A-BFED-86B70F676C12}" srcOrd="11" destOrd="0" presId="urn:microsoft.com/office/officeart/2005/8/layout/default"/>
    <dgm:cxn modelId="{4580491A-D62F-4B93-BBA3-960456DC2DB5}" type="presParOf" srcId="{0C3DF66B-1D3C-4E3A-806B-0526B1DBE3FB}" destId="{9711DEDC-7AE5-4D94-866E-A0050D230D0C}" srcOrd="12" destOrd="0" presId="urn:microsoft.com/office/officeart/2005/8/layout/default"/>
    <dgm:cxn modelId="{F4090B3C-75F0-4DEF-B567-6209E00A7D71}" type="presParOf" srcId="{0C3DF66B-1D3C-4E3A-806B-0526B1DBE3FB}" destId="{AD9D925D-DD97-40C8-982A-A6882DA54822}" srcOrd="13" destOrd="0" presId="urn:microsoft.com/office/officeart/2005/8/layout/default"/>
    <dgm:cxn modelId="{168D5F9C-4562-4BB2-B018-65A5C9E0A639}" type="presParOf" srcId="{0C3DF66B-1D3C-4E3A-806B-0526B1DBE3FB}" destId="{E432CD10-DBAC-452B-961F-3295DA95AFBA}" srcOrd="14" destOrd="0" presId="urn:microsoft.com/office/officeart/2005/8/layout/default"/>
    <dgm:cxn modelId="{1399CE94-8469-49C9-9388-D4E6A7C53D9A}" type="presParOf" srcId="{0C3DF66B-1D3C-4E3A-806B-0526B1DBE3FB}" destId="{43E76C6E-4EA5-4935-8FF0-5CA6B3CE800F}" srcOrd="15" destOrd="0" presId="urn:microsoft.com/office/officeart/2005/8/layout/default"/>
    <dgm:cxn modelId="{713B65F4-1EAE-4412-8E02-F27A464105B3}" type="presParOf" srcId="{0C3DF66B-1D3C-4E3A-806B-0526B1DBE3FB}" destId="{2F6022A3-E6D6-4284-AD4E-FEA34E6D460F}" srcOrd="1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4CD6D5F-585F-4F8B-A9FE-49F6D05C60B1}">
      <dsp:nvSpPr>
        <dsp:cNvPr id="0" name=""/>
        <dsp:cNvSpPr/>
      </dsp:nvSpPr>
      <dsp:spPr>
        <a:xfrm>
          <a:off x="791442" y="1362"/>
          <a:ext cx="2282339" cy="136940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baseline="0"/>
            <a:t>Nullable Reference Types</a:t>
          </a:r>
          <a:endParaRPr lang="en-US" sz="2500" kern="1200"/>
        </a:p>
      </dsp:txBody>
      <dsp:txXfrm>
        <a:off x="791442" y="1362"/>
        <a:ext cx="2282339" cy="1369403"/>
      </dsp:txXfrm>
    </dsp:sp>
    <dsp:sp modelId="{01F9358F-38C8-47C2-8CB2-21C838EEC5CD}">
      <dsp:nvSpPr>
        <dsp:cNvPr id="0" name=""/>
        <dsp:cNvSpPr/>
      </dsp:nvSpPr>
      <dsp:spPr>
        <a:xfrm>
          <a:off x="3302015" y="1362"/>
          <a:ext cx="2282339" cy="136940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baseline="0"/>
            <a:t>More Patterns</a:t>
          </a:r>
          <a:endParaRPr lang="en-US" sz="2500" kern="1200"/>
        </a:p>
      </dsp:txBody>
      <dsp:txXfrm>
        <a:off x="3302015" y="1362"/>
        <a:ext cx="2282339" cy="1369403"/>
      </dsp:txXfrm>
    </dsp:sp>
    <dsp:sp modelId="{74057112-81DA-4295-8E26-1C23E3C7B6CF}">
      <dsp:nvSpPr>
        <dsp:cNvPr id="0" name=""/>
        <dsp:cNvSpPr/>
      </dsp:nvSpPr>
      <dsp:spPr>
        <a:xfrm>
          <a:off x="5812589" y="1362"/>
          <a:ext cx="2282339" cy="136940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baseline="0"/>
            <a:t>Indices and Ranges</a:t>
          </a:r>
          <a:endParaRPr lang="en-US" sz="2500" kern="1200"/>
        </a:p>
      </dsp:txBody>
      <dsp:txXfrm>
        <a:off x="5812589" y="1362"/>
        <a:ext cx="2282339" cy="1369403"/>
      </dsp:txXfrm>
    </dsp:sp>
    <dsp:sp modelId="{60699CB8-4BC2-4C65-9C73-D71CD93130AF}">
      <dsp:nvSpPr>
        <dsp:cNvPr id="0" name=""/>
        <dsp:cNvSpPr/>
      </dsp:nvSpPr>
      <dsp:spPr>
        <a:xfrm>
          <a:off x="791442" y="1599000"/>
          <a:ext cx="2282339" cy="136940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baseline="0"/>
            <a:t>Static Local Functions</a:t>
          </a:r>
          <a:endParaRPr lang="en-US" sz="2500" kern="1200"/>
        </a:p>
      </dsp:txBody>
      <dsp:txXfrm>
        <a:off x="791442" y="1599000"/>
        <a:ext cx="2282339" cy="1369403"/>
      </dsp:txXfrm>
    </dsp:sp>
    <dsp:sp modelId="{4B6B3A20-7135-4E53-B962-A37FB447878B}">
      <dsp:nvSpPr>
        <dsp:cNvPr id="0" name=""/>
        <dsp:cNvSpPr/>
      </dsp:nvSpPr>
      <dsp:spPr>
        <a:xfrm>
          <a:off x="3302015" y="1599000"/>
          <a:ext cx="2282339" cy="136940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baseline="0"/>
            <a:t>using Declarations</a:t>
          </a:r>
          <a:endParaRPr lang="en-US" sz="2500" kern="1200"/>
        </a:p>
      </dsp:txBody>
      <dsp:txXfrm>
        <a:off x="3302015" y="1599000"/>
        <a:ext cx="2282339" cy="1369403"/>
      </dsp:txXfrm>
    </dsp:sp>
    <dsp:sp modelId="{B5FE9A0C-0BEC-40C5-AEE5-6F83A67AFA2D}">
      <dsp:nvSpPr>
        <dsp:cNvPr id="0" name=""/>
        <dsp:cNvSpPr/>
      </dsp:nvSpPr>
      <dsp:spPr>
        <a:xfrm>
          <a:off x="5812589" y="1599000"/>
          <a:ext cx="2282339" cy="136940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baseline="0"/>
            <a:t>Async Streams</a:t>
          </a:r>
          <a:endParaRPr lang="en-US" sz="2500" kern="1200"/>
        </a:p>
      </dsp:txBody>
      <dsp:txXfrm>
        <a:off x="5812589" y="1599000"/>
        <a:ext cx="2282339" cy="1369403"/>
      </dsp:txXfrm>
    </dsp:sp>
    <dsp:sp modelId="{9711DEDC-7AE5-4D94-866E-A0050D230D0C}">
      <dsp:nvSpPr>
        <dsp:cNvPr id="0" name=""/>
        <dsp:cNvSpPr/>
      </dsp:nvSpPr>
      <dsp:spPr>
        <a:xfrm>
          <a:off x="791442" y="3196637"/>
          <a:ext cx="2282339" cy="136940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baseline="0" dirty="0"/>
            <a:t>Default Interface Members</a:t>
          </a:r>
          <a:endParaRPr lang="en-US" sz="2500" kern="1200" dirty="0"/>
        </a:p>
      </dsp:txBody>
      <dsp:txXfrm>
        <a:off x="791442" y="3196637"/>
        <a:ext cx="2282339" cy="1369403"/>
      </dsp:txXfrm>
    </dsp:sp>
    <dsp:sp modelId="{E432CD10-DBAC-452B-961F-3295DA95AFBA}">
      <dsp:nvSpPr>
        <dsp:cNvPr id="0" name=""/>
        <dsp:cNvSpPr/>
      </dsp:nvSpPr>
      <dsp:spPr>
        <a:xfrm>
          <a:off x="3302015" y="3196637"/>
          <a:ext cx="2282339" cy="136940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baseline="0" dirty="0"/>
            <a:t>Struct </a:t>
          </a:r>
          <a:r>
            <a:rPr lang="en-US" sz="2500" kern="1200" baseline="0" dirty="0" err="1"/>
            <a:t>Readonly</a:t>
          </a:r>
          <a:r>
            <a:rPr lang="en-US" sz="2500" kern="1200" baseline="0" dirty="0"/>
            <a:t> Members</a:t>
          </a:r>
          <a:endParaRPr lang="en-US" sz="2500" kern="1200" dirty="0"/>
        </a:p>
      </dsp:txBody>
      <dsp:txXfrm>
        <a:off x="3302015" y="3196637"/>
        <a:ext cx="2282339" cy="1369403"/>
      </dsp:txXfrm>
    </dsp:sp>
    <dsp:sp modelId="{25835213-3CBC-4CB8-82FA-00904C6EAAA7}">
      <dsp:nvSpPr>
        <dsp:cNvPr id="0" name=""/>
        <dsp:cNvSpPr/>
      </dsp:nvSpPr>
      <dsp:spPr>
        <a:xfrm>
          <a:off x="5812589" y="3196637"/>
          <a:ext cx="2282339" cy="136940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baseline="0"/>
            <a:t>Disposable ref structs</a:t>
          </a:r>
          <a:endParaRPr lang="en-US" sz="2500" kern="1200" dirty="0"/>
        </a:p>
      </dsp:txBody>
      <dsp:txXfrm>
        <a:off x="5812589" y="3196637"/>
        <a:ext cx="2282339" cy="136940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4CD6D5F-585F-4F8B-A9FE-49F6D05C60B1}">
      <dsp:nvSpPr>
        <dsp:cNvPr id="0" name=""/>
        <dsp:cNvSpPr/>
      </dsp:nvSpPr>
      <dsp:spPr>
        <a:xfrm>
          <a:off x="791442" y="1362"/>
          <a:ext cx="2282339" cy="136940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baseline="0"/>
            <a:t>Nullable Reference Types</a:t>
          </a:r>
          <a:endParaRPr lang="en-US" sz="2500" kern="1200"/>
        </a:p>
      </dsp:txBody>
      <dsp:txXfrm>
        <a:off x="791442" y="1362"/>
        <a:ext cx="2282339" cy="1369403"/>
      </dsp:txXfrm>
    </dsp:sp>
    <dsp:sp modelId="{01F9358F-38C8-47C2-8CB2-21C838EEC5CD}">
      <dsp:nvSpPr>
        <dsp:cNvPr id="0" name=""/>
        <dsp:cNvSpPr/>
      </dsp:nvSpPr>
      <dsp:spPr>
        <a:xfrm>
          <a:off x="3302015" y="1362"/>
          <a:ext cx="2282339" cy="136940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baseline="0"/>
            <a:t>More Patterns</a:t>
          </a:r>
          <a:endParaRPr lang="en-US" sz="2500" kern="1200"/>
        </a:p>
      </dsp:txBody>
      <dsp:txXfrm>
        <a:off x="3302015" y="1362"/>
        <a:ext cx="2282339" cy="1369403"/>
      </dsp:txXfrm>
    </dsp:sp>
    <dsp:sp modelId="{74057112-81DA-4295-8E26-1C23E3C7B6CF}">
      <dsp:nvSpPr>
        <dsp:cNvPr id="0" name=""/>
        <dsp:cNvSpPr/>
      </dsp:nvSpPr>
      <dsp:spPr>
        <a:xfrm>
          <a:off x="5812589" y="1362"/>
          <a:ext cx="2282339" cy="136940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baseline="0"/>
            <a:t>Indices and Ranges</a:t>
          </a:r>
          <a:endParaRPr lang="en-US" sz="2500" kern="1200"/>
        </a:p>
      </dsp:txBody>
      <dsp:txXfrm>
        <a:off x="5812589" y="1362"/>
        <a:ext cx="2282339" cy="1369403"/>
      </dsp:txXfrm>
    </dsp:sp>
    <dsp:sp modelId="{60699CB8-4BC2-4C65-9C73-D71CD93130AF}">
      <dsp:nvSpPr>
        <dsp:cNvPr id="0" name=""/>
        <dsp:cNvSpPr/>
      </dsp:nvSpPr>
      <dsp:spPr>
        <a:xfrm>
          <a:off x="791442" y="1599000"/>
          <a:ext cx="2282339" cy="136940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baseline="0"/>
            <a:t>Static Local Functions</a:t>
          </a:r>
          <a:endParaRPr lang="en-US" sz="2500" kern="1200"/>
        </a:p>
      </dsp:txBody>
      <dsp:txXfrm>
        <a:off x="791442" y="1599000"/>
        <a:ext cx="2282339" cy="1369403"/>
      </dsp:txXfrm>
    </dsp:sp>
    <dsp:sp modelId="{4B6B3A20-7135-4E53-B962-A37FB447878B}">
      <dsp:nvSpPr>
        <dsp:cNvPr id="0" name=""/>
        <dsp:cNvSpPr/>
      </dsp:nvSpPr>
      <dsp:spPr>
        <a:xfrm>
          <a:off x="3302015" y="1599000"/>
          <a:ext cx="2282339" cy="136940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baseline="0"/>
            <a:t>using Declarations</a:t>
          </a:r>
          <a:endParaRPr lang="en-US" sz="2500" kern="1200"/>
        </a:p>
      </dsp:txBody>
      <dsp:txXfrm>
        <a:off x="3302015" y="1599000"/>
        <a:ext cx="2282339" cy="1369403"/>
      </dsp:txXfrm>
    </dsp:sp>
    <dsp:sp modelId="{B5FE9A0C-0BEC-40C5-AEE5-6F83A67AFA2D}">
      <dsp:nvSpPr>
        <dsp:cNvPr id="0" name=""/>
        <dsp:cNvSpPr/>
      </dsp:nvSpPr>
      <dsp:spPr>
        <a:xfrm>
          <a:off x="5812589" y="1599000"/>
          <a:ext cx="2282339" cy="136940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baseline="0"/>
            <a:t>Async Streams</a:t>
          </a:r>
          <a:endParaRPr lang="en-US" sz="2500" kern="1200"/>
        </a:p>
      </dsp:txBody>
      <dsp:txXfrm>
        <a:off x="5812589" y="1599000"/>
        <a:ext cx="2282339" cy="1369403"/>
      </dsp:txXfrm>
    </dsp:sp>
    <dsp:sp modelId="{9711DEDC-7AE5-4D94-866E-A0050D230D0C}">
      <dsp:nvSpPr>
        <dsp:cNvPr id="0" name=""/>
        <dsp:cNvSpPr/>
      </dsp:nvSpPr>
      <dsp:spPr>
        <a:xfrm>
          <a:off x="791442" y="3196637"/>
          <a:ext cx="2282339" cy="136940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baseline="0" dirty="0"/>
            <a:t>Default Interface Members</a:t>
          </a:r>
          <a:endParaRPr lang="en-US" sz="2500" kern="1200" dirty="0"/>
        </a:p>
      </dsp:txBody>
      <dsp:txXfrm>
        <a:off x="791442" y="3196637"/>
        <a:ext cx="2282339" cy="1369403"/>
      </dsp:txXfrm>
    </dsp:sp>
    <dsp:sp modelId="{E432CD10-DBAC-452B-961F-3295DA95AFBA}">
      <dsp:nvSpPr>
        <dsp:cNvPr id="0" name=""/>
        <dsp:cNvSpPr/>
      </dsp:nvSpPr>
      <dsp:spPr>
        <a:xfrm>
          <a:off x="3302015" y="3196637"/>
          <a:ext cx="2282339" cy="136940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baseline="0" dirty="0"/>
            <a:t>Struct </a:t>
          </a:r>
          <a:r>
            <a:rPr lang="en-US" sz="2500" kern="1200" baseline="0" dirty="0" err="1"/>
            <a:t>Readonly</a:t>
          </a:r>
          <a:r>
            <a:rPr lang="en-US" sz="2500" kern="1200" baseline="0" dirty="0"/>
            <a:t> Members</a:t>
          </a:r>
          <a:endParaRPr lang="en-US" sz="2500" kern="1200" dirty="0"/>
        </a:p>
      </dsp:txBody>
      <dsp:txXfrm>
        <a:off x="3302015" y="3196637"/>
        <a:ext cx="2282339" cy="1369403"/>
      </dsp:txXfrm>
    </dsp:sp>
    <dsp:sp modelId="{2F6022A3-E6D6-4284-AD4E-FEA34E6D460F}">
      <dsp:nvSpPr>
        <dsp:cNvPr id="0" name=""/>
        <dsp:cNvSpPr/>
      </dsp:nvSpPr>
      <dsp:spPr>
        <a:xfrm>
          <a:off x="5812589" y="3196637"/>
          <a:ext cx="2282339" cy="136940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baseline="0"/>
            <a:t>Disposable ref structs</a:t>
          </a:r>
          <a:endParaRPr lang="en-US" sz="2500" kern="1200" dirty="0"/>
        </a:p>
      </dsp:txBody>
      <dsp:txXfrm>
        <a:off x="5812589" y="3196637"/>
        <a:ext cx="2282339" cy="136940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0F9EC6-89FF-47E1-8594-1A32E3B45134}" type="datetime8">
              <a:rPr lang="en-US" smtClean="0">
                <a:latin typeface="Segoe UI" pitchFamily="34" charset="0"/>
              </a:rPr>
              <a:t>5/27/2019 2:10 PM</a:t>
            </a:fld>
            <a:endParaRPr lang="en-US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386CE63F-9E7F-4C04-9D0D-FCA25A8E9E86}" type="datetime8">
              <a:rPr lang="en-US" smtClean="0"/>
              <a:t>5/27/2019 2:09 PM</a:t>
            </a:fld>
            <a:endParaRPr lang="en-US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14367" rtl="0" eaLnBrk="1" latinLnBrk="0" hangingPunct="1">
      <a:lnSpc>
        <a:spcPct val="90000"/>
      </a:lnSpc>
      <a:spcAft>
        <a:spcPts val="333"/>
      </a:spcAft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2982" indent="-105829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28071" indent="-115090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82848" indent="-146838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15134" indent="-115090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285918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6pPr>
    <a:lvl7pPr marL="2743101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7pPr>
    <a:lvl8pPr marL="3200284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8pPr>
    <a:lvl9pPr marL="3657469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62C61DAB-D93E-49CA-B245-379601CFE8D0}" type="datetime8">
              <a:rPr lang="en-US" smtClean="0"/>
              <a:t>5/27/2019 2:09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84700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# 8.0 Theme: Robustness, more expressive, pit of succes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5/27/2019 6:27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30455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g"/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6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6.png"/><Relationship Id="rId4" Type="http://schemas.openxmlformats.org/officeDocument/2006/relationships/image" Target="../media/image25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6.png"/><Relationship Id="rId4" Type="http://schemas.openxmlformats.org/officeDocument/2006/relationships/image" Target="../media/image25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6.png"/><Relationship Id="rId4" Type="http://schemas.openxmlformats.org/officeDocument/2006/relationships/image" Target="../media/image25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6.png"/><Relationship Id="rId4" Type="http://schemas.openxmlformats.org/officeDocument/2006/relationships/image" Target="../media/image25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6.png"/><Relationship Id="rId4" Type="http://schemas.openxmlformats.org/officeDocument/2006/relationships/image" Target="../media/image25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6.png"/><Relationship Id="rId4" Type="http://schemas.openxmlformats.org/officeDocument/2006/relationships/image" Target="../media/image25.emf"/></Relationships>
</file>

<file path=ppt/slideLayouts/_rels/slideLayout4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6.png"/><Relationship Id="rId5" Type="http://schemas.openxmlformats.org/officeDocument/2006/relationships/image" Target="../media/image25.emf"/><Relationship Id="rId4" Type="http://schemas.openxmlformats.org/officeDocument/2006/relationships/image" Target="../media/image27.pn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6.png"/><Relationship Id="rId4" Type="http://schemas.openxmlformats.org/officeDocument/2006/relationships/image" Target="../media/image25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6.png"/><Relationship Id="rId4" Type="http://schemas.openxmlformats.org/officeDocument/2006/relationships/image" Target="../media/image25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6.png"/><Relationship Id="rId4" Type="http://schemas.openxmlformats.org/officeDocument/2006/relationships/image" Target="../media/image25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6.png"/><Relationship Id="rId4" Type="http://schemas.openxmlformats.org/officeDocument/2006/relationships/image" Target="../media/image25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6.png"/><Relationship Id="rId4" Type="http://schemas.openxmlformats.org/officeDocument/2006/relationships/image" Target="../media/image25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6.png"/><Relationship Id="rId4" Type="http://schemas.openxmlformats.org/officeDocument/2006/relationships/image" Target="../media/image25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6.png"/><Relationship Id="rId4" Type="http://schemas.openxmlformats.org/officeDocument/2006/relationships/image" Target="../media/image25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6.png"/><Relationship Id="rId4" Type="http://schemas.openxmlformats.org/officeDocument/2006/relationships/image" Target="../media/image25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6.png"/><Relationship Id="rId4" Type="http://schemas.openxmlformats.org/officeDocument/2006/relationships/image" Target="../media/image25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6.png"/><Relationship Id="rId4" Type="http://schemas.openxmlformats.org/officeDocument/2006/relationships/image" Target="../media/image25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5.emf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5.emf"/><Relationship Id="rId5" Type="http://schemas.openxmlformats.org/officeDocument/2006/relationships/image" Target="../media/image30.emf"/><Relationship Id="rId4" Type="http://schemas.openxmlformats.org/officeDocument/2006/relationships/oleObject" Target="../embeddings/oleObject3.bin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image" Target="../media/image6.png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4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5.bin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6.bin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alk-i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B1A570A-3DF6-4E73-936C-B8EFE6BE0A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4" b="274"/>
          <a:stretch/>
        </p:blipFill>
        <p:spPr>
          <a:xfrm>
            <a:off x="0" y="860"/>
            <a:ext cx="12188944" cy="685628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4951D116-D62F-4654-B645-CAA42BD9589F}"/>
              </a:ext>
            </a:extLst>
          </p:cNvPr>
          <p:cNvSpPr/>
          <p:nvPr userDrawn="1"/>
        </p:nvSpPr>
        <p:spPr bwMode="black">
          <a:xfrm>
            <a:off x="558800" y="3876645"/>
            <a:ext cx="417195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5405">
                      <a:srgbClr val="282828"/>
                    </a:gs>
                    <a:gs pos="16216">
                      <a:srgbClr val="282828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Learn. Explore. Connect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C5F3211-D2D8-4D1C-A479-5841F4A39C0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089" y="2292759"/>
            <a:ext cx="4170171" cy="1150784"/>
          </a:xfrm>
          <a:prstGeom prst="rect">
            <a:avLst/>
          </a:prstGeom>
        </p:spPr>
      </p:pic>
      <p:pic>
        <p:nvPicPr>
          <p:cNvPr id="7" name="MS logo gray - EMF" descr="Microsoft logo, gray text version">
            <a:extLst>
              <a:ext uri="{FF2B5EF4-FFF2-40B4-BE49-F238E27FC236}">
                <a16:creationId xmlns:a16="http://schemas.microsoft.com/office/drawing/2014/main" id="{3D740DC2-0389-4549-8BD2-C450AEDDC88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3529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alk-in - Mumbai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775B27BE-ECE9-4194-B764-AB074B9C1BC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0" y="0"/>
            <a:ext cx="6858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6EB4BF7-FF7A-4E04-B281-38408891E2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2" b="262"/>
          <a:stretch/>
        </p:blipFill>
        <p:spPr>
          <a:xfrm>
            <a:off x="0" y="0"/>
            <a:ext cx="12188944" cy="685628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30FC5A2C-FF29-4A51-982C-87C262D6E54A}"/>
              </a:ext>
            </a:extLst>
          </p:cNvPr>
          <p:cNvSpPr/>
          <p:nvPr userDrawn="1"/>
        </p:nvSpPr>
        <p:spPr bwMode="black">
          <a:xfrm>
            <a:off x="558800" y="4833843"/>
            <a:ext cx="315685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802">
                      <a:srgbClr val="282828"/>
                    </a:gs>
                    <a:gs pos="16216">
                      <a:srgbClr val="282828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Mumbai, India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4902561-1E26-467D-AF4A-94BCDB9ABD1D}"/>
              </a:ext>
            </a:extLst>
          </p:cNvPr>
          <p:cNvSpPr/>
          <p:nvPr userDrawn="1"/>
        </p:nvSpPr>
        <p:spPr bwMode="black">
          <a:xfrm>
            <a:off x="558800" y="3876645"/>
            <a:ext cx="417195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5405">
                      <a:srgbClr val="282828"/>
                    </a:gs>
                    <a:gs pos="16216">
                      <a:srgbClr val="282828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Learn. Explore. Connect.</a:t>
            </a:r>
          </a:p>
        </p:txBody>
      </p:sp>
      <p:pic>
        <p:nvPicPr>
          <p:cNvPr id="15" name="MS logo gray - EMF" descr="Microsoft logo, gray text version">
            <a:extLst>
              <a:ext uri="{FF2B5EF4-FFF2-40B4-BE49-F238E27FC236}">
                <a16:creationId xmlns:a16="http://schemas.microsoft.com/office/drawing/2014/main" id="{2306D267-4F72-4F3B-B356-CC0F0A0C7FB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9EA9C6A6-1822-431B-BE3E-E43944D5D33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089" y="2292759"/>
            <a:ext cx="4170171" cy="1150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31517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aker Notes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948299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er Evidenc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gradFill>
                  <a:gsLst>
                    <a:gs pos="18584">
                      <a:schemeClr val="tx2"/>
                    </a:gs>
                    <a:gs pos="57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ustomer evidence slid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 bwMode="gray">
          <a:xfrm>
            <a:off x="269239" y="1406078"/>
            <a:ext cx="5378549" cy="1791549"/>
          </a:xfrm>
          <a:blipFill>
            <a:blip r:embed="rId2"/>
            <a:stretch>
              <a:fillRect/>
            </a:stretch>
          </a:blipFill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lang="en-US" sz="2353" kern="1200" spc="0" baseline="0" dirty="0">
                <a:noFill/>
                <a:latin typeface="+mn-lt"/>
                <a:ea typeface="+mn-ea"/>
                <a:cs typeface="+mn-cs"/>
              </a:defRPr>
            </a:lvl1pPr>
            <a:lvl2pPr>
              <a:defRPr lang="en-US" sz="2353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Click icon to add picture</a:t>
            </a:r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6095999" y="4773828"/>
            <a:ext cx="5829081" cy="1793104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79285" tIns="143428" rIns="179285" bIns="143428" numCol="1" rtlCol="0" anchor="ctr" anchorCtr="0" compatLnSpc="1">
            <a:prstTxWarp prst="textNoShape">
              <a:avLst/>
            </a:prstTxWarp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961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</a:endParaRP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6096000" y="1406078"/>
            <a:ext cx="5826762" cy="3366196"/>
          </a:xfrm>
          <a:blipFill>
            <a:blip r:embed="rId3"/>
            <a:stretch>
              <a:fillRect/>
            </a:stretch>
          </a:blipFill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lang="en-US" sz="2353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algn="ctr">
              <a:defRPr lang="en-US" sz="2353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Your image her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871894" y="1801029"/>
            <a:ext cx="0" cy="4662019"/>
          </a:xfrm>
          <a:prstGeom prst="line">
            <a:avLst/>
          </a:prstGeom>
          <a:ln w="3175">
            <a:solidFill>
              <a:schemeClr val="tx1">
                <a:alpha val="2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269239" y="3197079"/>
            <a:ext cx="5378549" cy="3369853"/>
          </a:xfrm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sz="2353"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6096001" y="4773828"/>
            <a:ext cx="5826761" cy="1791549"/>
          </a:xfrm>
        </p:spPr>
        <p:txBody>
          <a:bodyPr lIns="182880" tIns="146304" rIns="182880" bIns="146304" anchor="ctr">
            <a:noAutofit/>
          </a:bodyPr>
          <a:lstStyle>
            <a:lvl1pPr marL="0" indent="0" algn="ctr">
              <a:buNone/>
              <a:defRPr sz="3137">
                <a:gradFill>
                  <a:gsLst>
                    <a:gs pos="27434">
                      <a:srgbClr val="FFFFFF"/>
                    </a:gs>
                    <a:gs pos="54000">
                      <a:srgbClr val="FFFFFF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9225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m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42473841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822E318-1D6A-41C5-88F9-9D592993910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4" y="0"/>
            <a:ext cx="12190271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697BBFD-C67F-4E7F-88C5-14C147865AAC}"/>
              </a:ext>
            </a:extLst>
          </p:cNvPr>
          <p:cNvSpPr/>
          <p:nvPr userDrawn="1"/>
        </p:nvSpPr>
        <p:spPr bwMode="auto">
          <a:xfrm>
            <a:off x="0" y="2980725"/>
            <a:ext cx="12191377" cy="3877275"/>
          </a:xfrm>
          <a:prstGeom prst="rect">
            <a:avLst/>
          </a:prstGeom>
          <a:gradFill>
            <a:gsLst>
              <a:gs pos="100000">
                <a:srgbClr val="000000">
                  <a:alpha val="50000"/>
                </a:srgbClr>
              </a:gs>
              <a:gs pos="0">
                <a:srgbClr val="000000">
                  <a:alpha val="0"/>
                </a:srgbClr>
              </a:gs>
            </a:gsLst>
            <a:lin ang="5400000" scaled="1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EAE7D11-E447-4983-9448-755AB4ECBAE6}"/>
              </a:ext>
            </a:extLst>
          </p:cNvPr>
          <p:cNvSpPr txBox="1"/>
          <p:nvPr userDrawn="1"/>
        </p:nvSpPr>
        <p:spPr>
          <a:xfrm>
            <a:off x="269239" y="4511768"/>
            <a:ext cx="11147140" cy="1158613"/>
          </a:xfrm>
          <a:prstGeom prst="rect">
            <a:avLst/>
          </a:prstGeom>
          <a:noFill/>
        </p:spPr>
        <p:txBody>
          <a:bodyPr wrap="none" lIns="179285" tIns="143428" rIns="179285" bIns="143428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627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Government Cloud Forum 2017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5DC2E83-4A6C-47D6-9622-B7E5BE792ACE}"/>
              </a:ext>
            </a:extLst>
          </p:cNvPr>
          <p:cNvSpPr txBox="1"/>
          <p:nvPr userDrawn="1"/>
        </p:nvSpPr>
        <p:spPr>
          <a:xfrm>
            <a:off x="269239" y="5463187"/>
            <a:ext cx="9432503" cy="832691"/>
          </a:xfrm>
          <a:prstGeom prst="rect">
            <a:avLst/>
          </a:prstGeom>
          <a:noFill/>
        </p:spPr>
        <p:txBody>
          <a:bodyPr wrap="none" lIns="179285" tIns="143428" rIns="179285" bIns="143428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392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Washington D.C. ⅼ Ronald Reagan Building</a:t>
            </a:r>
          </a:p>
        </p:txBody>
      </p:sp>
    </p:spTree>
    <p:extLst>
      <p:ext uri="{BB962C8B-B14F-4D97-AF65-F5344CB8AC3E}">
        <p14:creationId xmlns:p14="http://schemas.microsoft.com/office/powerpoint/2010/main" val="21805061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250">
        <p:fade/>
      </p:transition>
    </mc:Choice>
    <mc:Fallback xmlns="">
      <p:transition spd="slow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56009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250">
        <p:fade/>
      </p:transition>
    </mc:Choice>
    <mc:Fallback xmlns="">
      <p:transition spd="slow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5078" cy="2332883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77092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fade/>
      </p:transition>
    </mc:Choice>
    <mc:Fallback xmlns="">
      <p:transition spd="slow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23328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29928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fade/>
      </p:transition>
    </mc:Choice>
    <mc:Fallback xmlns="">
      <p:transition spd="slow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941" b="0">
                <a:latin typeface="+mn-lt"/>
              </a:defRPr>
            </a:lvl1pPr>
            <a:lvl2pPr marL="250553" indent="0">
              <a:buFont typeface="Wingdings" panose="05000000000000000000" pitchFamily="2" charset="2"/>
              <a:buNone/>
              <a:defRPr sz="2353" b="0"/>
            </a:lvl2pPr>
            <a:lvl3pPr marL="441968" indent="0">
              <a:buFont typeface="Wingdings" panose="05000000000000000000" pitchFamily="2" charset="2"/>
              <a:buNone/>
              <a:tabLst/>
              <a:defRPr sz="2157" b="0"/>
            </a:lvl3pPr>
            <a:lvl4pPr marL="639608" indent="0">
              <a:buFont typeface="Wingdings" panose="05000000000000000000" pitchFamily="2" charset="2"/>
              <a:buNone/>
              <a:defRPr sz="2157" b="0"/>
            </a:lvl4pPr>
            <a:lvl5pPr marL="837250" indent="0">
              <a:buFont typeface="Wingdings" panose="05000000000000000000" pitchFamily="2" charset="2"/>
              <a:buNone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42957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0553" indent="0">
              <a:buFont typeface="Arial" panose="020B0604020202020204" pitchFamily="34" charset="0"/>
              <a:buNone/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41968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39608" indent="0">
              <a:buFont typeface="Arial" panose="020B0604020202020204" pitchFamily="34" charset="0"/>
              <a:buNone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37250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04217" marR="0" lvl="0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504217" marR="0" lvl="1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04217" marR="0" lvl="2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04217" marR="0" lvl="3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04217" marR="0" lvl="4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53994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fade/>
      </p:transition>
    </mc:Choice>
    <mc:Fallback xmlns="">
      <p:transition spd="slow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227209" indent="-227209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941" b="0">
                <a:latin typeface="+mn-lt"/>
              </a:defRPr>
            </a:lvl1pPr>
            <a:lvl2pPr marL="418625" indent="-168072">
              <a:buFont typeface="Wingdings" panose="05000000000000000000" pitchFamily="2" charset="2"/>
              <a:buChar char=""/>
              <a:defRPr sz="2353" b="0"/>
            </a:lvl2pPr>
            <a:lvl3pPr marL="627160" indent="-185191">
              <a:buFont typeface="Wingdings" panose="05000000000000000000" pitchFamily="2" charset="2"/>
              <a:buChar char=""/>
              <a:tabLst/>
              <a:defRPr sz="2157" b="0"/>
            </a:lvl3pPr>
            <a:lvl4pPr marL="812350" indent="-172742">
              <a:buFont typeface="Wingdings" panose="05000000000000000000" pitchFamily="2" charset="2"/>
              <a:buChar char=""/>
              <a:defRPr sz="2157" b="0"/>
            </a:lvl4pPr>
            <a:lvl5pPr marL="1003766" indent="-166517">
              <a:buFont typeface="Wingdings" panose="05000000000000000000" pitchFamily="2" charset="2"/>
              <a:buChar char=""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429576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86698" indent="-336145"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78113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75753" indent="-336145"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73395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27209" marR="0" lvl="0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27209" marR="0" lvl="1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27209" marR="0" lvl="2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27209" marR="0" lvl="3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27209" marR="0" lvl="4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46586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fade/>
      </p:transition>
    </mc:Choice>
    <mc:Fallback xmlns="">
      <p:transition spd="slow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46709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fade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alk-in - Sao Paul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5960B1E-2ECE-4161-826E-E07FFB783B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0" y="0"/>
            <a:ext cx="6858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3AE8C90-DC2B-426E-B93C-971B3D0833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2" b="262"/>
          <a:stretch/>
        </p:blipFill>
        <p:spPr>
          <a:xfrm>
            <a:off x="0" y="0"/>
            <a:ext cx="12188944" cy="685628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6AB75210-51C5-4C97-A3CA-435A280AC380}"/>
              </a:ext>
            </a:extLst>
          </p:cNvPr>
          <p:cNvSpPr/>
          <p:nvPr userDrawn="1"/>
        </p:nvSpPr>
        <p:spPr bwMode="black">
          <a:xfrm>
            <a:off x="558800" y="4833843"/>
            <a:ext cx="315685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802">
                      <a:srgbClr val="282828"/>
                    </a:gs>
                    <a:gs pos="16216">
                      <a:srgbClr val="282828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Sao Paulo, Brazi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9A1FA8B-8B2A-48A5-BAF9-B74C45265278}"/>
              </a:ext>
            </a:extLst>
          </p:cNvPr>
          <p:cNvSpPr/>
          <p:nvPr userDrawn="1"/>
        </p:nvSpPr>
        <p:spPr bwMode="black">
          <a:xfrm>
            <a:off x="558800" y="3876645"/>
            <a:ext cx="417195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5405">
                      <a:srgbClr val="282828"/>
                    </a:gs>
                    <a:gs pos="16216">
                      <a:srgbClr val="282828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Learn. Explore. Connect.</a:t>
            </a:r>
          </a:p>
        </p:txBody>
      </p:sp>
      <p:pic>
        <p:nvPicPr>
          <p:cNvPr id="15" name="MS logo gray - EMF" descr="Microsoft logo, gray text version">
            <a:extLst>
              <a:ext uri="{FF2B5EF4-FFF2-40B4-BE49-F238E27FC236}">
                <a16:creationId xmlns:a16="http://schemas.microsoft.com/office/drawing/2014/main" id="{D3B14A65-8E86-4BE1-B02F-A474CDD1913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99DAD08-F0EB-40DB-8536-F3354797AE2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089" y="2292759"/>
            <a:ext cx="4170171" cy="1150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25361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4115030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250">
        <p:fade/>
      </p:transition>
    </mc:Choice>
    <mc:Fallback xmlns="">
      <p:transition spd="slow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42867040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250">
        <p:fade/>
      </p:transition>
    </mc:Choice>
    <mc:Fallback xmlns="">
      <p:transition spd="slow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278087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fade/>
      </p:transition>
    </mc:Choice>
    <mc:Fallback xmlns="">
      <p:transition spd="slow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7416530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250">
        <p:fade/>
      </p:transition>
    </mc:Choice>
    <mc:Fallback xmlns="">
      <p:transition spd="slow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5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593857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fade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43953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fade/>
      </p:transition>
    </mc:Choice>
    <mc:Fallback xmlns="">
      <p:transition spd="slow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129868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250">
        <p:fade/>
      </p:transition>
    </mc:Choice>
    <mc:Fallback xmlns="">
      <p:transition spd="slow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52985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250">
        <p:fade/>
      </p:transition>
    </mc:Choice>
    <mc:Fallback xmlns="">
      <p:transition spd="slow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887984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250">
        <p:fade/>
      </p:transition>
    </mc:Choice>
    <mc:Fallback xmlns="">
      <p:transition spd="slow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2000" cy="146304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69240" y="354827"/>
            <a:ext cx="11655840" cy="899665"/>
          </a:xfrm>
        </p:spPr>
        <p:txBody>
          <a:bodyPr/>
          <a:lstStyle>
            <a:lvl1pPr>
              <a:defRPr sz="4000" spc="-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60891679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alk-in - Seou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4CD0730D-9B43-46AB-B403-5767B2053A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0" y="0"/>
            <a:ext cx="6858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DBC455F-AE9F-4DED-A8EE-69B13DB71B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2" b="262"/>
          <a:stretch/>
        </p:blipFill>
        <p:spPr>
          <a:xfrm>
            <a:off x="0" y="0"/>
            <a:ext cx="12188944" cy="685628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F05F37A3-2C0A-4E24-B498-0B0025EA40AB}"/>
              </a:ext>
            </a:extLst>
          </p:cNvPr>
          <p:cNvSpPr/>
          <p:nvPr userDrawn="1"/>
        </p:nvSpPr>
        <p:spPr bwMode="black">
          <a:xfrm>
            <a:off x="558800" y="4833843"/>
            <a:ext cx="315685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802">
                      <a:srgbClr val="282828"/>
                    </a:gs>
                    <a:gs pos="16216">
                      <a:srgbClr val="282828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Seoul, South Korea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AA191C2-2374-443D-A3FC-6C20A564B16C}"/>
              </a:ext>
            </a:extLst>
          </p:cNvPr>
          <p:cNvSpPr/>
          <p:nvPr userDrawn="1"/>
        </p:nvSpPr>
        <p:spPr bwMode="black">
          <a:xfrm>
            <a:off x="558800" y="3876645"/>
            <a:ext cx="417195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5405">
                      <a:srgbClr val="282828"/>
                    </a:gs>
                    <a:gs pos="16216">
                      <a:srgbClr val="282828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Learn. Explore. Connect.</a:t>
            </a:r>
          </a:p>
        </p:txBody>
      </p:sp>
      <p:pic>
        <p:nvPicPr>
          <p:cNvPr id="15" name="MS logo gray - EMF" descr="Microsoft logo, gray text version">
            <a:extLst>
              <a:ext uri="{FF2B5EF4-FFF2-40B4-BE49-F238E27FC236}">
                <a16:creationId xmlns:a16="http://schemas.microsoft.com/office/drawing/2014/main" id="{D298C88D-B434-4F30-A464-80843226E2F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0E775C6A-4341-4F3A-97A2-AA16034244E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089" y="2292759"/>
            <a:ext cx="4170171" cy="1150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63924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2196879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4366968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alk-in - Singapor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894CA139-FA58-4871-B272-49F8EFF504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0" y="0"/>
            <a:ext cx="6858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29F23DB-AAD4-449D-9675-60445AB517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2" b="262"/>
          <a:stretch/>
        </p:blipFill>
        <p:spPr>
          <a:xfrm>
            <a:off x="0" y="0"/>
            <a:ext cx="12188944" cy="685628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6EF42A8-C606-4AF1-B1E3-D9294FD35A48}"/>
              </a:ext>
            </a:extLst>
          </p:cNvPr>
          <p:cNvSpPr/>
          <p:nvPr userDrawn="1"/>
        </p:nvSpPr>
        <p:spPr bwMode="black">
          <a:xfrm>
            <a:off x="558800" y="4833843"/>
            <a:ext cx="315685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802">
                      <a:srgbClr val="282828"/>
                    </a:gs>
                    <a:gs pos="16216">
                      <a:srgbClr val="282828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Singapor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6197CCE-1994-41C6-99DD-1D6A52A008B7}"/>
              </a:ext>
            </a:extLst>
          </p:cNvPr>
          <p:cNvSpPr/>
          <p:nvPr userDrawn="1"/>
        </p:nvSpPr>
        <p:spPr bwMode="black">
          <a:xfrm>
            <a:off x="558800" y="3876645"/>
            <a:ext cx="417195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5405">
                      <a:srgbClr val="282828"/>
                    </a:gs>
                    <a:gs pos="16216">
                      <a:srgbClr val="282828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Learn. Explore. Connect.</a:t>
            </a:r>
          </a:p>
        </p:txBody>
      </p:sp>
      <p:pic>
        <p:nvPicPr>
          <p:cNvPr id="15" name="MS logo gray - EMF" descr="Microsoft logo, gray text version">
            <a:extLst>
              <a:ext uri="{FF2B5EF4-FFF2-40B4-BE49-F238E27FC236}">
                <a16:creationId xmlns:a16="http://schemas.microsoft.com/office/drawing/2014/main" id="{7F2B52D3-1C1C-42B4-ADE6-42130D75F81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399BCB4B-830D-4441-8147-010A963DE92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089" y="2292759"/>
            <a:ext cx="4170171" cy="1150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77575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alk-in - Stockholm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441C468-E45A-4CEB-B1A0-6BEB92654B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0" y="0"/>
            <a:ext cx="6858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578AE56-6226-4BCB-B2C1-5493F448AB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2" b="262"/>
          <a:stretch/>
        </p:blipFill>
        <p:spPr>
          <a:xfrm>
            <a:off x="0" y="0"/>
            <a:ext cx="12188944" cy="685628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DD8F20A-4E9C-481E-A2D5-0EE0534452F7}"/>
              </a:ext>
            </a:extLst>
          </p:cNvPr>
          <p:cNvSpPr/>
          <p:nvPr userDrawn="1"/>
        </p:nvSpPr>
        <p:spPr bwMode="black">
          <a:xfrm>
            <a:off x="558800" y="4833843"/>
            <a:ext cx="315685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802">
                      <a:srgbClr val="282828"/>
                    </a:gs>
                    <a:gs pos="16216">
                      <a:srgbClr val="282828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Stockholm, Swede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FA3ACD1-62F6-4806-B196-5D05AFB41B18}"/>
              </a:ext>
            </a:extLst>
          </p:cNvPr>
          <p:cNvSpPr/>
          <p:nvPr userDrawn="1"/>
        </p:nvSpPr>
        <p:spPr bwMode="black">
          <a:xfrm>
            <a:off x="558800" y="3876645"/>
            <a:ext cx="417195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5405">
                      <a:srgbClr val="282828"/>
                    </a:gs>
                    <a:gs pos="16216">
                      <a:srgbClr val="282828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Learn. Explore. Connect.</a:t>
            </a:r>
          </a:p>
        </p:txBody>
      </p:sp>
      <p:pic>
        <p:nvPicPr>
          <p:cNvPr id="15" name="MS logo gray - EMF" descr="Microsoft logo, gray text version">
            <a:extLst>
              <a:ext uri="{FF2B5EF4-FFF2-40B4-BE49-F238E27FC236}">
                <a16:creationId xmlns:a16="http://schemas.microsoft.com/office/drawing/2014/main" id="{73D31351-A4A5-4199-B673-E250BE108A2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99A90E6B-5E11-4841-8456-EFA0C5A4EB6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089" y="2292759"/>
            <a:ext cx="4170171" cy="1150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53762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alk-in - Sydney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833DC6CE-A6D7-4134-BECB-AD7626BF76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0" y="0"/>
            <a:ext cx="6858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E58F923-04A8-4BE0-A402-DE2CD91900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2" b="262"/>
          <a:stretch/>
        </p:blipFill>
        <p:spPr>
          <a:xfrm>
            <a:off x="0" y="0"/>
            <a:ext cx="12188944" cy="685628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3C143BBF-1343-4E56-B3AE-8103B2DBE2FE}"/>
              </a:ext>
            </a:extLst>
          </p:cNvPr>
          <p:cNvSpPr/>
          <p:nvPr userDrawn="1"/>
        </p:nvSpPr>
        <p:spPr bwMode="black">
          <a:xfrm>
            <a:off x="558800" y="4833843"/>
            <a:ext cx="315685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802">
                      <a:srgbClr val="282828"/>
                    </a:gs>
                    <a:gs pos="16216">
                      <a:srgbClr val="282828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Sydney, Australia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E45A8D5-A8E8-4223-A436-AE9CFBCF9EBF}"/>
              </a:ext>
            </a:extLst>
          </p:cNvPr>
          <p:cNvSpPr/>
          <p:nvPr userDrawn="1"/>
        </p:nvSpPr>
        <p:spPr bwMode="black">
          <a:xfrm>
            <a:off x="558800" y="3876645"/>
            <a:ext cx="417195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5405">
                      <a:srgbClr val="282828"/>
                    </a:gs>
                    <a:gs pos="16216">
                      <a:srgbClr val="282828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Learn. Explore. Connect.</a:t>
            </a:r>
          </a:p>
        </p:txBody>
      </p:sp>
      <p:pic>
        <p:nvPicPr>
          <p:cNvPr id="15" name="MS logo gray - EMF" descr="Microsoft logo, gray text version">
            <a:extLst>
              <a:ext uri="{FF2B5EF4-FFF2-40B4-BE49-F238E27FC236}">
                <a16:creationId xmlns:a16="http://schemas.microsoft.com/office/drawing/2014/main" id="{F183D2F8-29D5-4DCA-9873-FABB961A8CB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F16D1E3-6FE3-42AC-8A63-B0139AF3FDC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089" y="2292759"/>
            <a:ext cx="4170171" cy="1150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8296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alk-in - Tel Aviv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704AACE-461C-46C6-98CC-EB9A5FE54B0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0" y="0"/>
            <a:ext cx="6858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505D1EB-C608-4F6E-AE86-119CE3299E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2" b="262"/>
          <a:stretch/>
        </p:blipFill>
        <p:spPr>
          <a:xfrm>
            <a:off x="0" y="0"/>
            <a:ext cx="12188944" cy="685628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D1C4FA0-023E-47CF-9A24-495F76997179}"/>
              </a:ext>
            </a:extLst>
          </p:cNvPr>
          <p:cNvSpPr/>
          <p:nvPr userDrawn="1"/>
        </p:nvSpPr>
        <p:spPr bwMode="black">
          <a:xfrm>
            <a:off x="558800" y="4833843"/>
            <a:ext cx="315685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802">
                      <a:srgbClr val="282828"/>
                    </a:gs>
                    <a:gs pos="16216">
                      <a:srgbClr val="282828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Tel Aviv, Isra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06C65E7-354A-4B8A-BD6C-0864C3660482}"/>
              </a:ext>
            </a:extLst>
          </p:cNvPr>
          <p:cNvSpPr/>
          <p:nvPr userDrawn="1"/>
        </p:nvSpPr>
        <p:spPr bwMode="black">
          <a:xfrm>
            <a:off x="558800" y="3876645"/>
            <a:ext cx="417195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5405">
                      <a:srgbClr val="282828"/>
                    </a:gs>
                    <a:gs pos="16216">
                      <a:srgbClr val="282828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Learn. Explore. Connect.</a:t>
            </a:r>
          </a:p>
        </p:txBody>
      </p:sp>
      <p:pic>
        <p:nvPicPr>
          <p:cNvPr id="15" name="MS logo gray - EMF" descr="Microsoft logo, gray text version">
            <a:extLst>
              <a:ext uri="{FF2B5EF4-FFF2-40B4-BE49-F238E27FC236}">
                <a16:creationId xmlns:a16="http://schemas.microsoft.com/office/drawing/2014/main" id="{062F4A97-026C-4383-987F-B6AE4F4B1C1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F387A44-62FC-44F7-A2FF-D0346A71401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089" y="2292759"/>
            <a:ext cx="4170171" cy="1150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72942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alk-in - Toront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17FA061-FC66-4293-AF90-9EA2AD87F3B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0" y="0"/>
            <a:ext cx="6858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897DAB4-C62C-4149-B386-17967FF5CD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2" b="262"/>
          <a:stretch/>
        </p:blipFill>
        <p:spPr>
          <a:xfrm>
            <a:off x="0" y="0"/>
            <a:ext cx="12188944" cy="685628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B8A89DF7-D70D-4622-8BE9-A87BE88C8BC4}"/>
              </a:ext>
            </a:extLst>
          </p:cNvPr>
          <p:cNvSpPr/>
          <p:nvPr userDrawn="1"/>
        </p:nvSpPr>
        <p:spPr bwMode="black">
          <a:xfrm>
            <a:off x="558800" y="4833843"/>
            <a:ext cx="315685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802">
                      <a:srgbClr val="282828"/>
                    </a:gs>
                    <a:gs pos="16216">
                      <a:srgbClr val="282828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Toronto, Ontario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17F00C3-0957-4E3D-B61E-91351B6993D2}"/>
              </a:ext>
            </a:extLst>
          </p:cNvPr>
          <p:cNvSpPr/>
          <p:nvPr userDrawn="1"/>
        </p:nvSpPr>
        <p:spPr bwMode="black">
          <a:xfrm>
            <a:off x="558800" y="3876645"/>
            <a:ext cx="417195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5405">
                      <a:srgbClr val="282828"/>
                    </a:gs>
                    <a:gs pos="16216">
                      <a:srgbClr val="282828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Learn. Explore. Connect.</a:t>
            </a:r>
          </a:p>
        </p:txBody>
      </p:sp>
      <p:pic>
        <p:nvPicPr>
          <p:cNvPr id="15" name="MS logo gray - EMF" descr="Microsoft logo, gray text version">
            <a:extLst>
              <a:ext uri="{FF2B5EF4-FFF2-40B4-BE49-F238E27FC236}">
                <a16:creationId xmlns:a16="http://schemas.microsoft.com/office/drawing/2014/main" id="{7B385A99-6BD0-4B2A-BC14-F92E6057F80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FB4ED867-EF51-4C7D-B9F1-C8021D48E0A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089" y="2292759"/>
            <a:ext cx="4170171" cy="1150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53808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alk-in - Washington, D.C.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79116C68-A016-4B9D-9AC4-7A0EC98B6774}"/>
              </a:ext>
            </a:extLst>
          </p:cNvPr>
          <p:cNvGrpSpPr/>
          <p:nvPr userDrawn="1"/>
        </p:nvGrpSpPr>
        <p:grpSpPr>
          <a:xfrm>
            <a:off x="0" y="197219"/>
            <a:ext cx="12192000" cy="6908800"/>
            <a:chOff x="0" y="-50800"/>
            <a:chExt cx="12192000" cy="6908800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EF1E02D8-5C05-4272-BA0F-0E2969F9F77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34000" y="0"/>
              <a:ext cx="6858000" cy="6858000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615114C7-A798-4283-B2BD-86B1FBC29DE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62" b="262"/>
            <a:stretch/>
          </p:blipFill>
          <p:spPr>
            <a:xfrm>
              <a:off x="0" y="-50800"/>
              <a:ext cx="12188944" cy="6856281"/>
            </a:xfrm>
            <a:prstGeom prst="rect">
              <a:avLst/>
            </a:prstGeom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6B9DD061-9157-4B32-9768-A4D98D9A3478}"/>
                </a:ext>
              </a:extLst>
            </p:cNvPr>
            <p:cNvSpPr/>
            <p:nvPr userDrawn="1"/>
          </p:nvSpPr>
          <p:spPr bwMode="black">
            <a:xfrm>
              <a:off x="572690" y="4510030"/>
              <a:ext cx="3156857" cy="27699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normalizeH="0" baseline="0" noProof="0">
                  <a:ln w="3175">
                    <a:noFill/>
                  </a:ln>
                  <a:gradFill>
                    <a:gsLst>
                      <a:gs pos="1802">
                        <a:srgbClr val="282828"/>
                      </a:gs>
                      <a:gs pos="16216">
                        <a:srgbClr val="282828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Segoe UI Semibold"/>
                  <a:ea typeface="+mn-ea"/>
                  <a:cs typeface="Segoe UI" pitchFamily="34" charset="0"/>
                </a:rPr>
                <a:t>Washington, D.C.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8A4F335-92D1-4876-86A9-AAFD122FFE77}"/>
                </a:ext>
              </a:extLst>
            </p:cNvPr>
            <p:cNvSpPr/>
            <p:nvPr userDrawn="1"/>
          </p:nvSpPr>
          <p:spPr bwMode="black">
            <a:xfrm>
              <a:off x="558800" y="4005928"/>
              <a:ext cx="4171950" cy="36933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normalizeH="0" baseline="0" noProof="0">
                  <a:ln w="3175">
                    <a:noFill/>
                  </a:ln>
                  <a:gradFill>
                    <a:gsLst>
                      <a:gs pos="5405">
                        <a:srgbClr val="282828"/>
                      </a:gs>
                      <a:gs pos="16216">
                        <a:srgbClr val="282828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Segoe UI Semibold"/>
                  <a:ea typeface="+mn-ea"/>
                  <a:cs typeface="Segoe UI" pitchFamily="34" charset="0"/>
                </a:rPr>
                <a:t>Advance your mission</a:t>
              </a:r>
            </a:p>
          </p:txBody>
        </p:sp>
        <p:pic>
          <p:nvPicPr>
            <p:cNvPr id="15" name="MS logo gray - EMF" descr="Microsoft logo, gray text version">
              <a:extLst>
                <a:ext uri="{FF2B5EF4-FFF2-40B4-BE49-F238E27FC236}">
                  <a16:creationId xmlns:a16="http://schemas.microsoft.com/office/drawing/2014/main" id="{918229C5-83C2-403B-A8B7-835F42E354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black">
            <a:xfrm>
              <a:off x="584200" y="585788"/>
              <a:ext cx="1366440" cy="292608"/>
            </a:xfrm>
            <a:prstGeom prst="rect">
              <a:avLst/>
            </a:prstGeom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F2FD2D65-9FA4-49C7-911D-A1E812B95C9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1915" y="1986997"/>
              <a:ext cx="4170171" cy="1150784"/>
            </a:xfrm>
            <a:prstGeom prst="rect">
              <a:avLst/>
            </a:prstGeom>
          </p:spPr>
        </p:pic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5CFD51B7-31E5-4258-AABD-CFA4F9DFC42D}"/>
              </a:ext>
            </a:extLst>
          </p:cNvPr>
          <p:cNvSpPr txBox="1"/>
          <p:nvPr userDrawn="1"/>
        </p:nvSpPr>
        <p:spPr>
          <a:xfrm>
            <a:off x="581915" y="3442069"/>
            <a:ext cx="4345385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4400" b="1">
                <a:solidFill>
                  <a:srgbClr val="0078D4"/>
                </a:solidFill>
                <a:latin typeface="+mj-lt"/>
              </a:rPr>
              <a:t>Government</a:t>
            </a:r>
          </a:p>
        </p:txBody>
      </p:sp>
    </p:spTree>
    <p:extLst>
      <p:ext uri="{BB962C8B-B14F-4D97-AF65-F5344CB8AC3E}">
        <p14:creationId xmlns:p14="http://schemas.microsoft.com/office/powerpoint/2010/main" val="27131653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E1750CB-9CBA-45C3-BA45-EB468097CB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4" b="274"/>
          <a:stretch/>
        </p:blipFill>
        <p:spPr>
          <a:xfrm>
            <a:off x="0" y="860"/>
            <a:ext cx="12188944" cy="6856281"/>
          </a:xfrm>
          <a:prstGeom prst="rect">
            <a:avLst/>
          </a:prstGeom>
        </p:spPr>
      </p:pic>
      <p:pic>
        <p:nvPicPr>
          <p:cNvPr id="8" name="MS logo gray - EMF" descr="Microsoft logo, gray text version">
            <a:extLst>
              <a:ext uri="{FF2B5EF4-FFF2-40B4-BE49-F238E27FC236}">
                <a16:creationId xmlns:a16="http://schemas.microsoft.com/office/drawing/2014/main" id="{CE330B21-D2B9-4344-9D50-39EA0699913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84200" y="2979778"/>
            <a:ext cx="7589520" cy="553998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584200" y="3962400"/>
            <a:ext cx="758952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27597494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alk-in - Amsterdam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F1DFFB8F-CE2F-4AB3-8CD0-C1655DA231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43500" y="0"/>
            <a:ext cx="7048500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95843E0-3986-4503-9A6F-B40F4C2CB9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2" b="262"/>
          <a:stretch/>
        </p:blipFill>
        <p:spPr>
          <a:xfrm>
            <a:off x="0" y="0"/>
            <a:ext cx="12188944" cy="6856281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8AD14322-0427-4F0E-8DED-539BC2C49B74}"/>
              </a:ext>
            </a:extLst>
          </p:cNvPr>
          <p:cNvSpPr/>
          <p:nvPr userDrawn="1"/>
        </p:nvSpPr>
        <p:spPr bwMode="black">
          <a:xfrm>
            <a:off x="558800" y="4833843"/>
            <a:ext cx="315685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802">
                      <a:srgbClr val="282828"/>
                    </a:gs>
                    <a:gs pos="16216">
                      <a:srgbClr val="282828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Amsterdam, Netherland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205E5BC-C576-4934-9BED-2F5877877267}"/>
              </a:ext>
            </a:extLst>
          </p:cNvPr>
          <p:cNvSpPr/>
          <p:nvPr userDrawn="1"/>
        </p:nvSpPr>
        <p:spPr bwMode="black">
          <a:xfrm>
            <a:off x="558800" y="3876645"/>
            <a:ext cx="417195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5405">
                      <a:srgbClr val="282828"/>
                    </a:gs>
                    <a:gs pos="16216">
                      <a:srgbClr val="282828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Learn. Explore. Connect.</a:t>
            </a:r>
          </a:p>
        </p:txBody>
      </p:sp>
      <p:pic>
        <p:nvPicPr>
          <p:cNvPr id="14" name="MS logo gray - EMF" descr="Microsoft logo, gray text version">
            <a:extLst>
              <a:ext uri="{FF2B5EF4-FFF2-40B4-BE49-F238E27FC236}">
                <a16:creationId xmlns:a16="http://schemas.microsoft.com/office/drawing/2014/main" id="{0B8BAE41-74AD-4F4F-BD6A-0DA6215CF41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68AEF572-B74F-4253-BD1D-421B05060AF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089" y="2292759"/>
            <a:ext cx="4170171" cy="1150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5349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3133736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 userDrawn="1">
          <p15:clr>
            <a:srgbClr val="5ACBF0"/>
          </p15:clr>
        </p15:guide>
        <p15:guide id="2" orient="horz" pos="905" userDrawn="1">
          <p15:clr>
            <a:srgbClr val="5ACBF0"/>
          </p15:clr>
        </p15:guide>
        <p15:guide id="4" orient="horz" pos="1272" userDrawn="1">
          <p15:clr>
            <a:srgbClr val="5ACBF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0326847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orient="horz" pos="1272" userDrawn="1">
          <p15:clr>
            <a:srgbClr val="5ACBF0"/>
          </p15:clr>
        </p15:guide>
        <p15:guide id="3" orient="horz" pos="288" userDrawn="1">
          <p15:clr>
            <a:srgbClr val="5ACBF0"/>
          </p15:clr>
        </p15:guide>
        <p15:guide id="5" orient="horz" pos="904" userDrawn="1">
          <p15:clr>
            <a:srgbClr val="5ACBF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9201898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 userDrawn="1">
          <p15:clr>
            <a:srgbClr val="5ACBF0"/>
          </p15:clr>
        </p15:guide>
        <p15:guide id="2" orient="horz" pos="1272" userDrawn="1">
          <p15:clr>
            <a:srgbClr val="5ACBF0"/>
          </p15:clr>
        </p15:guide>
        <p15:guide id="3" orient="horz" pos="904" userDrawn="1">
          <p15:clr>
            <a:srgbClr val="5ACBF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7994670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 userDrawn="1">
          <p15:clr>
            <a:srgbClr val="5ACBF0"/>
          </p15:clr>
        </p15:guide>
        <p15:guide id="2" orient="horz" pos="1276" userDrawn="1">
          <p15:clr>
            <a:srgbClr val="5ACBF0"/>
          </p15:clr>
        </p15:guide>
        <p15:guide id="3" orient="horz" pos="904" userDrawn="1">
          <p15:clr>
            <a:srgbClr val="5ACBF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8933552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 userDrawn="1">
          <p15:clr>
            <a:srgbClr val="5ACBF0"/>
          </p15:clr>
        </p15:guide>
        <p15:guide id="4" orient="horz" pos="1276" userDrawn="1">
          <p15:clr>
            <a:srgbClr val="5ACBF0"/>
          </p15:clr>
        </p15:guide>
        <p15:guide id="5" orient="horz" pos="288" userDrawn="1">
          <p15:clr>
            <a:srgbClr val="5ACBF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4385852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 userDrawn="1">
          <p15:clr>
            <a:srgbClr val="5ACBF0"/>
          </p15:clr>
        </p15:guide>
        <p15:guide id="29" orient="horz" pos="1271" userDrawn="1">
          <p15:clr>
            <a:srgbClr val="5ACBF0"/>
          </p15:clr>
        </p15:guide>
        <p15:guide id="30" orient="horz" pos="288" userDrawn="1">
          <p15:clr>
            <a:srgbClr val="5ACBF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025650"/>
            <a:ext cx="4161981" cy="1107996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Title format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1"/>
            <a:ext cx="4162425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6178F5D2-7CA2-4202-8FD2-95D8F7A2E98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399816571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025" y="2875002"/>
            <a:ext cx="4161981" cy="1107996"/>
          </a:xfrm>
        </p:spPr>
        <p:txBody>
          <a:bodyPr wrap="square" rIns="0" anchor="ctr" anchorCtr="0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Title  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3956AAB8-C2DF-40F3-A72B-0FA6F47702E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309671222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pos="2991">
          <p15:clr>
            <a:srgbClr val="5ACBF0"/>
          </p15:clr>
        </p15:guide>
        <p15:guide id="7" pos="3728">
          <p15:clr>
            <a:srgbClr val="C35EA4"/>
          </p15:clr>
        </p15:guide>
        <p15:guide id="8" pos="3544">
          <p15:clr>
            <a:srgbClr val="A4A3A4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4160520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smaller text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18102CFD-D7DD-461F-B675-FAE01404E55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3218673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1877">
          <p15:clr>
            <a:srgbClr val="5ACBF0"/>
          </p15:clr>
        </p15:guide>
        <p15:guide id="4" pos="3731">
          <p15:clr>
            <a:srgbClr val="C35EA4"/>
          </p15:clr>
        </p15:guide>
        <p15:guide id="5" pos="2993">
          <p15:clr>
            <a:srgbClr val="5ACBF0"/>
          </p15:clr>
        </p15:guide>
        <p15:guide id="6" pos="3547">
          <p15:clr>
            <a:srgbClr val="A4A3A4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0302753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alk-in - Berli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D878597-A66F-48B7-9B78-2A8098E557F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0" y="0"/>
            <a:ext cx="6858000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C08A3E6-1192-4FA6-BE7A-2A81F1A956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2" b="262"/>
          <a:stretch/>
        </p:blipFill>
        <p:spPr>
          <a:xfrm>
            <a:off x="0" y="0"/>
            <a:ext cx="12188944" cy="6856281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6283F70D-3D3D-403B-80FD-64AD0004A71E}"/>
              </a:ext>
            </a:extLst>
          </p:cNvPr>
          <p:cNvSpPr/>
          <p:nvPr userDrawn="1"/>
        </p:nvSpPr>
        <p:spPr bwMode="black">
          <a:xfrm>
            <a:off x="558800" y="4833843"/>
            <a:ext cx="315685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802">
                      <a:srgbClr val="282828"/>
                    </a:gs>
                    <a:gs pos="16216">
                      <a:srgbClr val="282828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Berlin, Germany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72826B7-67AC-47E3-9D9F-C5358000A7F1}"/>
              </a:ext>
            </a:extLst>
          </p:cNvPr>
          <p:cNvSpPr/>
          <p:nvPr userDrawn="1"/>
        </p:nvSpPr>
        <p:spPr bwMode="black">
          <a:xfrm>
            <a:off x="558800" y="3876645"/>
            <a:ext cx="417195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5405">
                      <a:srgbClr val="282828"/>
                    </a:gs>
                    <a:gs pos="16216">
                      <a:srgbClr val="282828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Learn. Explore. Connect.</a:t>
            </a:r>
          </a:p>
        </p:txBody>
      </p:sp>
      <p:pic>
        <p:nvPicPr>
          <p:cNvPr id="19" name="MS logo gray - EMF" descr="Microsoft logo, gray text version">
            <a:extLst>
              <a:ext uri="{FF2B5EF4-FFF2-40B4-BE49-F238E27FC236}">
                <a16:creationId xmlns:a16="http://schemas.microsoft.com/office/drawing/2014/main" id="{5F31B66D-EF8E-4D55-85D7-9FF1F04C571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2F7110F-F8B9-4D17-90A9-2D4C46C5924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089" y="2292759"/>
            <a:ext cx="4170171" cy="1150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6027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38919329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0668820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155672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 userDrawn="1">
          <p15:clr>
            <a:srgbClr val="5ACBF0"/>
          </p15:clr>
        </p15:guide>
        <p15:guide id="2" orient="horz" pos="904" userDrawn="1">
          <p15:clr>
            <a:srgbClr val="5ACBF0"/>
          </p15:clr>
        </p15:guide>
        <p15:guide id="3" orient="horz" pos="288" userDrawn="1">
          <p15:clr>
            <a:srgbClr val="5ACBF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4305879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 userDrawn="1">
          <p15:clr>
            <a:srgbClr val="5ACBF0"/>
          </p15:clr>
        </p15:guide>
        <p15:guide id="2" orient="horz" pos="905" userDrawn="1">
          <p15:clr>
            <a:srgbClr val="5ACBF0"/>
          </p15:clr>
        </p15:guide>
        <p15:guide id="3" orient="horz" pos="288" userDrawn="1">
          <p15:clr>
            <a:srgbClr val="5ACBF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6EB48F5B-FA46-418B-8BEE-9F0C23C84A5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72974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34829696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 userDrawn="1">
          <p15:clr>
            <a:srgbClr val="5ACBF0"/>
          </p15:clr>
        </p15:guide>
        <p15:guide id="2" orient="horz" pos="288" userDrawn="1">
          <p15:clr>
            <a:srgbClr val="5ACBF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B1A570A-3DF6-4E73-936C-B8EFE6BE0A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2" b="262"/>
          <a:stretch/>
        </p:blipFill>
        <p:spPr>
          <a:xfrm>
            <a:off x="1528" y="860"/>
            <a:ext cx="12188944" cy="6856281"/>
          </a:xfrm>
          <a:prstGeom prst="rect">
            <a:avLst/>
          </a:prstGeom>
        </p:spPr>
      </p:pic>
      <p:pic>
        <p:nvPicPr>
          <p:cNvPr id="4" name="MS logo white - EMF" descr="Microsoft logo white text version">
            <a:extLst>
              <a:ext uri="{FF2B5EF4-FFF2-40B4-BE49-F238E27FC236}">
                <a16:creationId xmlns:a16="http://schemas.microsoft.com/office/drawing/2014/main" id="{4D99DA5E-9A4A-407B-ACE6-5F9588DA022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white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4951D116-D62F-4654-B645-CAA42BD9589F}"/>
              </a:ext>
            </a:extLst>
          </p:cNvPr>
          <p:cNvSpPr/>
          <p:nvPr userDrawn="1"/>
        </p:nvSpPr>
        <p:spPr bwMode="white">
          <a:xfrm>
            <a:off x="558800" y="3876645"/>
            <a:ext cx="417195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6216">
                      <a:schemeClr val="tx1"/>
                    </a:gs>
                    <a:gs pos="39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Learn. Explore. Connect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C5F3211-D2D8-4D1C-A479-5841F4A39C0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089" y="2292759"/>
            <a:ext cx="4170171" cy="1150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47168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 - Amsterdam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9520DE4-C5D5-4237-AEED-A2F3275F11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43500" y="0"/>
            <a:ext cx="7048500" cy="6858000"/>
          </a:xfrm>
          <a:prstGeom prst="rect">
            <a:avLst/>
          </a:prstGeom>
        </p:spPr>
      </p:pic>
      <p:pic>
        <p:nvPicPr>
          <p:cNvPr id="4" name="Picture 3" descr="A picture containing outdoor object&#10;&#10;Description generated with very high confidence">
            <a:extLst>
              <a:ext uri="{FF2B5EF4-FFF2-40B4-BE49-F238E27FC236}">
                <a16:creationId xmlns:a16="http://schemas.microsoft.com/office/drawing/2014/main" id="{4E890763-C8B3-4A75-A976-F589AB0BA0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2" b="262"/>
          <a:stretch/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B75A0920-A5C0-44B4-805C-2A21395BDE6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white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24EBE55-5E46-48C2-A2DA-89E068769E8D}"/>
              </a:ext>
            </a:extLst>
          </p:cNvPr>
          <p:cNvSpPr/>
          <p:nvPr userDrawn="1"/>
        </p:nvSpPr>
        <p:spPr bwMode="white">
          <a:xfrm>
            <a:off x="558800" y="3876645"/>
            <a:ext cx="417195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6216">
                      <a:schemeClr val="tx1"/>
                    </a:gs>
                    <a:gs pos="39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Learn. Explore. Connect.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FC5D200-6CEC-4229-8BC0-917AEB6D937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089" y="2292759"/>
            <a:ext cx="4170171" cy="115078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8AD14322-0427-4F0E-8DED-539BC2C49B74}"/>
              </a:ext>
            </a:extLst>
          </p:cNvPr>
          <p:cNvSpPr/>
          <p:nvPr userDrawn="1"/>
        </p:nvSpPr>
        <p:spPr bwMode="white">
          <a:xfrm>
            <a:off x="558800" y="4833843"/>
            <a:ext cx="315685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6216">
                      <a:schemeClr val="tx1"/>
                    </a:gs>
                    <a:gs pos="39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Amsterdam, Netherlands</a:t>
            </a:r>
          </a:p>
        </p:txBody>
      </p:sp>
    </p:spTree>
    <p:extLst>
      <p:ext uri="{BB962C8B-B14F-4D97-AF65-F5344CB8AC3E}">
        <p14:creationId xmlns:p14="http://schemas.microsoft.com/office/powerpoint/2010/main" val="30174309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 userDrawn="1">
          <p15:clr>
            <a:srgbClr val="5ACBF0"/>
          </p15:clr>
        </p15:guide>
        <p15:guide id="3" pos="3355" userDrawn="1">
          <p15:clr>
            <a:srgbClr val="FBAE40"/>
          </p15:clr>
        </p15:guide>
        <p15:guide id="5" orient="horz" pos="2160" userDrawn="1">
          <p15:clr>
            <a:srgbClr val="FBAE40"/>
          </p15:clr>
        </p15:guide>
        <p15:guide id="6" orient="horz" pos="2229" userDrawn="1">
          <p15:clr>
            <a:srgbClr val="5ACBF0"/>
          </p15:clr>
        </p15:guide>
        <p15:guide id="7" pos="2996" userDrawn="1">
          <p15:clr>
            <a:srgbClr val="5ACBF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 - Berli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D878597-A66F-48B7-9B78-2A8098E557F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0" y="0"/>
            <a:ext cx="6858000" cy="6858000"/>
          </a:xfrm>
          <a:prstGeom prst="rect">
            <a:avLst/>
          </a:prstGeom>
        </p:spPr>
      </p:pic>
      <p:pic>
        <p:nvPicPr>
          <p:cNvPr id="4" name="Picture 3" descr="A picture containing outdoor object&#10;&#10;Description generated with very high confidence">
            <a:extLst>
              <a:ext uri="{FF2B5EF4-FFF2-40B4-BE49-F238E27FC236}">
                <a16:creationId xmlns:a16="http://schemas.microsoft.com/office/drawing/2014/main" id="{4E890763-C8B3-4A75-A976-F589AB0BA0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2" b="262"/>
          <a:stretch/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B75A0920-A5C0-44B4-805C-2A21395BDE6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white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24EBE55-5E46-48C2-A2DA-89E068769E8D}"/>
              </a:ext>
            </a:extLst>
          </p:cNvPr>
          <p:cNvSpPr/>
          <p:nvPr userDrawn="1"/>
        </p:nvSpPr>
        <p:spPr bwMode="white">
          <a:xfrm>
            <a:off x="558800" y="3876645"/>
            <a:ext cx="417195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6216">
                      <a:schemeClr val="tx1"/>
                    </a:gs>
                    <a:gs pos="39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Learn. Explore. Connect.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FC5D200-6CEC-4229-8BC0-917AEB6D937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089" y="2292759"/>
            <a:ext cx="4170171" cy="115078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8AD14322-0427-4F0E-8DED-539BC2C49B74}"/>
              </a:ext>
            </a:extLst>
          </p:cNvPr>
          <p:cNvSpPr/>
          <p:nvPr userDrawn="1"/>
        </p:nvSpPr>
        <p:spPr bwMode="white">
          <a:xfrm>
            <a:off x="558800" y="4833843"/>
            <a:ext cx="315685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6216">
                      <a:schemeClr val="tx1"/>
                    </a:gs>
                    <a:gs pos="39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Berlin, Germany</a:t>
            </a:r>
          </a:p>
        </p:txBody>
      </p:sp>
    </p:spTree>
    <p:extLst>
      <p:ext uri="{BB962C8B-B14F-4D97-AF65-F5344CB8AC3E}">
        <p14:creationId xmlns:p14="http://schemas.microsoft.com/office/powerpoint/2010/main" val="33593568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 - Dubai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01F6481-841B-4D81-8C52-4FFBA0F6A46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0" y="0"/>
            <a:ext cx="6858000" cy="6858000"/>
          </a:xfrm>
          <a:prstGeom prst="rect">
            <a:avLst/>
          </a:prstGeom>
        </p:spPr>
      </p:pic>
      <p:pic>
        <p:nvPicPr>
          <p:cNvPr id="4" name="Picture 3" descr="A picture containing outdoor object&#10;&#10;Description generated with very high confidence">
            <a:extLst>
              <a:ext uri="{FF2B5EF4-FFF2-40B4-BE49-F238E27FC236}">
                <a16:creationId xmlns:a16="http://schemas.microsoft.com/office/drawing/2014/main" id="{4E890763-C8B3-4A75-A976-F589AB0BA0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2" b="262"/>
          <a:stretch/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B75A0920-A5C0-44B4-805C-2A21395BDE6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white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24EBE55-5E46-48C2-A2DA-89E068769E8D}"/>
              </a:ext>
            </a:extLst>
          </p:cNvPr>
          <p:cNvSpPr/>
          <p:nvPr userDrawn="1"/>
        </p:nvSpPr>
        <p:spPr bwMode="white">
          <a:xfrm>
            <a:off x="558800" y="3876645"/>
            <a:ext cx="417195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6216">
                      <a:schemeClr val="tx1"/>
                    </a:gs>
                    <a:gs pos="39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Learn. Explore. Connect.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FC5D200-6CEC-4229-8BC0-917AEB6D937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089" y="2292759"/>
            <a:ext cx="4170171" cy="115078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8AD14322-0427-4F0E-8DED-539BC2C49B74}"/>
              </a:ext>
            </a:extLst>
          </p:cNvPr>
          <p:cNvSpPr/>
          <p:nvPr userDrawn="1"/>
        </p:nvSpPr>
        <p:spPr bwMode="white">
          <a:xfrm>
            <a:off x="558800" y="4833843"/>
            <a:ext cx="315685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6216">
                      <a:schemeClr val="tx1"/>
                    </a:gs>
                    <a:gs pos="39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Dubai, United Arab Emirates</a:t>
            </a:r>
          </a:p>
        </p:txBody>
      </p:sp>
    </p:spTree>
    <p:extLst>
      <p:ext uri="{BB962C8B-B14F-4D97-AF65-F5344CB8AC3E}">
        <p14:creationId xmlns:p14="http://schemas.microsoft.com/office/powerpoint/2010/main" val="32589818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alk-in - Dubai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01F6481-841B-4D81-8C52-4FFBA0F6A46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0" y="0"/>
            <a:ext cx="6858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2D98E67-FA3A-408B-840F-F44D3D46F1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2" b="262"/>
          <a:stretch/>
        </p:blipFill>
        <p:spPr>
          <a:xfrm>
            <a:off x="0" y="0"/>
            <a:ext cx="12188944" cy="685628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68CDB1D3-869B-4462-B109-CDDE37C96769}"/>
              </a:ext>
            </a:extLst>
          </p:cNvPr>
          <p:cNvSpPr/>
          <p:nvPr userDrawn="1"/>
        </p:nvSpPr>
        <p:spPr bwMode="black">
          <a:xfrm>
            <a:off x="558800" y="4833843"/>
            <a:ext cx="315685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802">
                      <a:srgbClr val="282828"/>
                    </a:gs>
                    <a:gs pos="16216">
                      <a:srgbClr val="282828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Dubai, United Arab Emirat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AAAC85F-8E48-4183-B683-3FEFCE3F141E}"/>
              </a:ext>
            </a:extLst>
          </p:cNvPr>
          <p:cNvSpPr/>
          <p:nvPr userDrawn="1"/>
        </p:nvSpPr>
        <p:spPr bwMode="black">
          <a:xfrm>
            <a:off x="558800" y="3876645"/>
            <a:ext cx="417195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5405">
                      <a:srgbClr val="282828"/>
                    </a:gs>
                    <a:gs pos="16216">
                      <a:srgbClr val="282828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Learn. Explore. Connect.</a:t>
            </a:r>
          </a:p>
        </p:txBody>
      </p:sp>
      <p:pic>
        <p:nvPicPr>
          <p:cNvPr id="15" name="MS logo gray - EMF" descr="Microsoft logo, gray text version">
            <a:extLst>
              <a:ext uri="{FF2B5EF4-FFF2-40B4-BE49-F238E27FC236}">
                <a16:creationId xmlns:a16="http://schemas.microsoft.com/office/drawing/2014/main" id="{B2FEF158-3275-4FB2-8C48-B0096BFEDD0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1A544521-70C2-4147-9F35-5CF4C74B2E2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089" y="2292759"/>
            <a:ext cx="4170171" cy="1150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91644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 - Hong Kong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BB37EB0-3E44-4294-88FB-CDAB5D37AB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0" y="0"/>
            <a:ext cx="6858000" cy="6858000"/>
          </a:xfrm>
          <a:prstGeom prst="rect">
            <a:avLst/>
          </a:prstGeom>
        </p:spPr>
      </p:pic>
      <p:pic>
        <p:nvPicPr>
          <p:cNvPr id="4" name="Picture 3" descr="A picture containing outdoor object&#10;&#10;Description generated with very high confidence">
            <a:extLst>
              <a:ext uri="{FF2B5EF4-FFF2-40B4-BE49-F238E27FC236}">
                <a16:creationId xmlns:a16="http://schemas.microsoft.com/office/drawing/2014/main" id="{4E890763-C8B3-4A75-A976-F589AB0BA0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2" b="262"/>
          <a:stretch/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B75A0920-A5C0-44B4-805C-2A21395BDE6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white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24EBE55-5E46-48C2-A2DA-89E068769E8D}"/>
              </a:ext>
            </a:extLst>
          </p:cNvPr>
          <p:cNvSpPr/>
          <p:nvPr userDrawn="1"/>
        </p:nvSpPr>
        <p:spPr bwMode="white">
          <a:xfrm>
            <a:off x="558800" y="3876645"/>
            <a:ext cx="417195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6216">
                      <a:schemeClr val="tx1"/>
                    </a:gs>
                    <a:gs pos="39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Learn. Explore. Connect.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FC5D200-6CEC-4229-8BC0-917AEB6D937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089" y="2292759"/>
            <a:ext cx="4170171" cy="115078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8AD14322-0427-4F0E-8DED-539BC2C49B74}"/>
              </a:ext>
            </a:extLst>
          </p:cNvPr>
          <p:cNvSpPr/>
          <p:nvPr userDrawn="1"/>
        </p:nvSpPr>
        <p:spPr bwMode="white">
          <a:xfrm>
            <a:off x="558800" y="4833843"/>
            <a:ext cx="315685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6216">
                      <a:schemeClr val="tx1"/>
                    </a:gs>
                    <a:gs pos="39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Hong Kong, China</a:t>
            </a:r>
          </a:p>
        </p:txBody>
      </p:sp>
    </p:spTree>
    <p:extLst>
      <p:ext uri="{BB962C8B-B14F-4D97-AF65-F5344CB8AC3E}">
        <p14:creationId xmlns:p14="http://schemas.microsoft.com/office/powerpoint/2010/main" val="37202783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 - Johannesburg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83D1353-C378-4EB9-86AA-27082DCB7C3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0" y="0"/>
            <a:ext cx="6858000" cy="6858000"/>
          </a:xfrm>
          <a:prstGeom prst="rect">
            <a:avLst/>
          </a:prstGeom>
        </p:spPr>
      </p:pic>
      <p:pic>
        <p:nvPicPr>
          <p:cNvPr id="4" name="Picture 3" descr="A picture containing outdoor object&#10;&#10;Description generated with very high confidence">
            <a:extLst>
              <a:ext uri="{FF2B5EF4-FFF2-40B4-BE49-F238E27FC236}">
                <a16:creationId xmlns:a16="http://schemas.microsoft.com/office/drawing/2014/main" id="{4E890763-C8B3-4A75-A976-F589AB0BA0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2" b="262"/>
          <a:stretch/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B75A0920-A5C0-44B4-805C-2A21395BDE6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white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24EBE55-5E46-48C2-A2DA-89E068769E8D}"/>
              </a:ext>
            </a:extLst>
          </p:cNvPr>
          <p:cNvSpPr/>
          <p:nvPr userDrawn="1"/>
        </p:nvSpPr>
        <p:spPr bwMode="white">
          <a:xfrm>
            <a:off x="558800" y="3876645"/>
            <a:ext cx="417195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6216">
                      <a:schemeClr val="tx1"/>
                    </a:gs>
                    <a:gs pos="39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Learn. Explore. Connect.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FC5D200-6CEC-4229-8BC0-917AEB6D937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089" y="2292759"/>
            <a:ext cx="4170171" cy="115078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8AD14322-0427-4F0E-8DED-539BC2C49B74}"/>
              </a:ext>
            </a:extLst>
          </p:cNvPr>
          <p:cNvSpPr/>
          <p:nvPr userDrawn="1"/>
        </p:nvSpPr>
        <p:spPr bwMode="white">
          <a:xfrm>
            <a:off x="558800" y="4833843"/>
            <a:ext cx="315685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6216">
                      <a:schemeClr val="tx1"/>
                    </a:gs>
                    <a:gs pos="39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Johannesburg, South Africa</a:t>
            </a:r>
          </a:p>
        </p:txBody>
      </p:sp>
    </p:spTree>
    <p:extLst>
      <p:ext uri="{BB962C8B-B14F-4D97-AF65-F5344CB8AC3E}">
        <p14:creationId xmlns:p14="http://schemas.microsoft.com/office/powerpoint/2010/main" val="22962145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 - Londo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061230B-5238-4A52-A85A-8767C4E9ED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0" y="0"/>
            <a:ext cx="6858000" cy="6858000"/>
          </a:xfrm>
          <a:prstGeom prst="rect">
            <a:avLst/>
          </a:prstGeom>
        </p:spPr>
      </p:pic>
      <p:pic>
        <p:nvPicPr>
          <p:cNvPr id="4" name="Picture 3" descr="A picture containing outdoor object&#10;&#10;Description generated with very high confidence">
            <a:extLst>
              <a:ext uri="{FF2B5EF4-FFF2-40B4-BE49-F238E27FC236}">
                <a16:creationId xmlns:a16="http://schemas.microsoft.com/office/drawing/2014/main" id="{4E890763-C8B3-4A75-A976-F589AB0BA0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2" b="262"/>
          <a:stretch/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B75A0920-A5C0-44B4-805C-2A21395BDE6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white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24EBE55-5E46-48C2-A2DA-89E068769E8D}"/>
              </a:ext>
            </a:extLst>
          </p:cNvPr>
          <p:cNvSpPr/>
          <p:nvPr userDrawn="1"/>
        </p:nvSpPr>
        <p:spPr bwMode="white">
          <a:xfrm>
            <a:off x="558800" y="3876645"/>
            <a:ext cx="417195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6216">
                      <a:schemeClr val="tx1"/>
                    </a:gs>
                    <a:gs pos="39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Learn. Explore. Connect.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FC5D200-6CEC-4229-8BC0-917AEB6D937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089" y="2292759"/>
            <a:ext cx="4170171" cy="115078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8AD14322-0427-4F0E-8DED-539BC2C49B74}"/>
              </a:ext>
            </a:extLst>
          </p:cNvPr>
          <p:cNvSpPr/>
          <p:nvPr userDrawn="1"/>
        </p:nvSpPr>
        <p:spPr bwMode="white">
          <a:xfrm>
            <a:off x="558800" y="4833843"/>
            <a:ext cx="315685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6216">
                      <a:schemeClr val="tx1"/>
                    </a:gs>
                    <a:gs pos="39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London, England</a:t>
            </a:r>
          </a:p>
        </p:txBody>
      </p:sp>
    </p:spTree>
    <p:extLst>
      <p:ext uri="{BB962C8B-B14F-4D97-AF65-F5344CB8AC3E}">
        <p14:creationId xmlns:p14="http://schemas.microsoft.com/office/powerpoint/2010/main" val="3215641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 - Mexico City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CAAC206-0445-4EDF-BDD9-EDE7806E884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0" y="0"/>
            <a:ext cx="6858000" cy="6858000"/>
          </a:xfrm>
          <a:prstGeom prst="rect">
            <a:avLst/>
          </a:prstGeom>
        </p:spPr>
      </p:pic>
      <p:pic>
        <p:nvPicPr>
          <p:cNvPr id="4" name="Picture 3" descr="A picture containing outdoor object&#10;&#10;Description generated with very high confidence">
            <a:extLst>
              <a:ext uri="{FF2B5EF4-FFF2-40B4-BE49-F238E27FC236}">
                <a16:creationId xmlns:a16="http://schemas.microsoft.com/office/drawing/2014/main" id="{4E890763-C8B3-4A75-A976-F589AB0BA0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2" b="262"/>
          <a:stretch/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B75A0920-A5C0-44B4-805C-2A21395BDE6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white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24EBE55-5E46-48C2-A2DA-89E068769E8D}"/>
              </a:ext>
            </a:extLst>
          </p:cNvPr>
          <p:cNvSpPr/>
          <p:nvPr userDrawn="1"/>
        </p:nvSpPr>
        <p:spPr bwMode="white">
          <a:xfrm>
            <a:off x="558800" y="3876645"/>
            <a:ext cx="417195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6216">
                      <a:schemeClr val="tx1"/>
                    </a:gs>
                    <a:gs pos="39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Learn. Explore. Connect.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FC5D200-6CEC-4229-8BC0-917AEB6D937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089" y="2292759"/>
            <a:ext cx="4170171" cy="115078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8AD14322-0427-4F0E-8DED-539BC2C49B74}"/>
              </a:ext>
            </a:extLst>
          </p:cNvPr>
          <p:cNvSpPr/>
          <p:nvPr userDrawn="1"/>
        </p:nvSpPr>
        <p:spPr bwMode="white">
          <a:xfrm>
            <a:off x="558800" y="4833843"/>
            <a:ext cx="315685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6216">
                      <a:schemeClr val="tx1"/>
                    </a:gs>
                    <a:gs pos="39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Mexico City, Mexico</a:t>
            </a:r>
          </a:p>
        </p:txBody>
      </p:sp>
    </p:spTree>
    <p:extLst>
      <p:ext uri="{BB962C8B-B14F-4D97-AF65-F5344CB8AC3E}">
        <p14:creationId xmlns:p14="http://schemas.microsoft.com/office/powerpoint/2010/main" val="29558519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 - Mila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45F18C4-D875-4888-9D49-9BF2F9BF629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0" y="0"/>
            <a:ext cx="6858000" cy="6858000"/>
          </a:xfrm>
          <a:prstGeom prst="rect">
            <a:avLst/>
          </a:prstGeom>
        </p:spPr>
      </p:pic>
      <p:pic>
        <p:nvPicPr>
          <p:cNvPr id="4" name="Picture 3" descr="A picture containing outdoor object&#10;&#10;Description generated with very high confidence">
            <a:extLst>
              <a:ext uri="{FF2B5EF4-FFF2-40B4-BE49-F238E27FC236}">
                <a16:creationId xmlns:a16="http://schemas.microsoft.com/office/drawing/2014/main" id="{4E890763-C8B3-4A75-A976-F589AB0BA0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2" b="262"/>
          <a:stretch/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B75A0920-A5C0-44B4-805C-2A21395BDE6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white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24EBE55-5E46-48C2-A2DA-89E068769E8D}"/>
              </a:ext>
            </a:extLst>
          </p:cNvPr>
          <p:cNvSpPr/>
          <p:nvPr userDrawn="1"/>
        </p:nvSpPr>
        <p:spPr bwMode="white">
          <a:xfrm>
            <a:off x="558800" y="3876645"/>
            <a:ext cx="417195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6216">
                      <a:schemeClr val="tx1"/>
                    </a:gs>
                    <a:gs pos="39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Learn. Explore. Connect.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FC5D200-6CEC-4229-8BC0-917AEB6D937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089" y="2292759"/>
            <a:ext cx="4170171" cy="115078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8AD14322-0427-4F0E-8DED-539BC2C49B74}"/>
              </a:ext>
            </a:extLst>
          </p:cNvPr>
          <p:cNvSpPr/>
          <p:nvPr userDrawn="1"/>
        </p:nvSpPr>
        <p:spPr bwMode="white">
          <a:xfrm>
            <a:off x="558800" y="4833843"/>
            <a:ext cx="315685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6216">
                      <a:schemeClr val="tx1"/>
                    </a:gs>
                    <a:gs pos="39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Milan, Italy</a:t>
            </a:r>
          </a:p>
        </p:txBody>
      </p:sp>
    </p:spTree>
    <p:extLst>
      <p:ext uri="{BB962C8B-B14F-4D97-AF65-F5344CB8AC3E}">
        <p14:creationId xmlns:p14="http://schemas.microsoft.com/office/powerpoint/2010/main" val="32491226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 - Mumbai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775B27BE-ECE9-4194-B764-AB074B9C1BC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0" y="0"/>
            <a:ext cx="6858000" cy="6858000"/>
          </a:xfrm>
          <a:prstGeom prst="rect">
            <a:avLst/>
          </a:prstGeom>
        </p:spPr>
      </p:pic>
      <p:pic>
        <p:nvPicPr>
          <p:cNvPr id="4" name="Picture 3" descr="A picture containing outdoor object&#10;&#10;Description generated with very high confidence">
            <a:extLst>
              <a:ext uri="{FF2B5EF4-FFF2-40B4-BE49-F238E27FC236}">
                <a16:creationId xmlns:a16="http://schemas.microsoft.com/office/drawing/2014/main" id="{4E890763-C8B3-4A75-A976-F589AB0BA0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2" b="262"/>
          <a:stretch/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B75A0920-A5C0-44B4-805C-2A21395BDE6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white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24EBE55-5E46-48C2-A2DA-89E068769E8D}"/>
              </a:ext>
            </a:extLst>
          </p:cNvPr>
          <p:cNvSpPr/>
          <p:nvPr userDrawn="1"/>
        </p:nvSpPr>
        <p:spPr bwMode="white">
          <a:xfrm>
            <a:off x="558800" y="3876645"/>
            <a:ext cx="417195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6216">
                      <a:schemeClr val="tx1"/>
                    </a:gs>
                    <a:gs pos="39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Learn. Explore. Connect.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FC5D200-6CEC-4229-8BC0-917AEB6D937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089" y="2292759"/>
            <a:ext cx="4170171" cy="115078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8AD14322-0427-4F0E-8DED-539BC2C49B74}"/>
              </a:ext>
            </a:extLst>
          </p:cNvPr>
          <p:cNvSpPr/>
          <p:nvPr userDrawn="1"/>
        </p:nvSpPr>
        <p:spPr bwMode="white">
          <a:xfrm>
            <a:off x="558800" y="4833843"/>
            <a:ext cx="315685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6216">
                      <a:schemeClr val="tx1"/>
                    </a:gs>
                    <a:gs pos="39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Mumbai, India</a:t>
            </a:r>
          </a:p>
        </p:txBody>
      </p:sp>
    </p:spTree>
    <p:extLst>
      <p:ext uri="{BB962C8B-B14F-4D97-AF65-F5344CB8AC3E}">
        <p14:creationId xmlns:p14="http://schemas.microsoft.com/office/powerpoint/2010/main" val="14394601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 - Sao Paul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5960B1E-2ECE-4161-826E-E07FFB783B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0" y="0"/>
            <a:ext cx="6858000" cy="6858000"/>
          </a:xfrm>
          <a:prstGeom prst="rect">
            <a:avLst/>
          </a:prstGeom>
        </p:spPr>
      </p:pic>
      <p:pic>
        <p:nvPicPr>
          <p:cNvPr id="4" name="Picture 3" descr="A picture containing outdoor object&#10;&#10;Description generated with very high confidence">
            <a:extLst>
              <a:ext uri="{FF2B5EF4-FFF2-40B4-BE49-F238E27FC236}">
                <a16:creationId xmlns:a16="http://schemas.microsoft.com/office/drawing/2014/main" id="{4E890763-C8B3-4A75-A976-F589AB0BA0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2" b="262"/>
          <a:stretch/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B75A0920-A5C0-44B4-805C-2A21395BDE6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white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24EBE55-5E46-48C2-A2DA-89E068769E8D}"/>
              </a:ext>
            </a:extLst>
          </p:cNvPr>
          <p:cNvSpPr/>
          <p:nvPr userDrawn="1"/>
        </p:nvSpPr>
        <p:spPr bwMode="white">
          <a:xfrm>
            <a:off x="558800" y="3876645"/>
            <a:ext cx="417195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6216">
                      <a:schemeClr val="tx1"/>
                    </a:gs>
                    <a:gs pos="39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Learn. Explore. Connect.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FC5D200-6CEC-4229-8BC0-917AEB6D937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089" y="2292759"/>
            <a:ext cx="4170171" cy="115078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8AD14322-0427-4F0E-8DED-539BC2C49B74}"/>
              </a:ext>
            </a:extLst>
          </p:cNvPr>
          <p:cNvSpPr/>
          <p:nvPr userDrawn="1"/>
        </p:nvSpPr>
        <p:spPr bwMode="white">
          <a:xfrm>
            <a:off x="558800" y="4833843"/>
            <a:ext cx="315685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6216">
                      <a:schemeClr val="tx1"/>
                    </a:gs>
                    <a:gs pos="39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Sao Paulo, Brazil</a:t>
            </a:r>
          </a:p>
        </p:txBody>
      </p:sp>
    </p:spTree>
    <p:extLst>
      <p:ext uri="{BB962C8B-B14F-4D97-AF65-F5344CB8AC3E}">
        <p14:creationId xmlns:p14="http://schemas.microsoft.com/office/powerpoint/2010/main" val="25293391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 - Seou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4CD0730D-9B43-46AB-B403-5767B2053A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0" y="0"/>
            <a:ext cx="6858000" cy="6858000"/>
          </a:xfrm>
          <a:prstGeom prst="rect">
            <a:avLst/>
          </a:prstGeom>
        </p:spPr>
      </p:pic>
      <p:pic>
        <p:nvPicPr>
          <p:cNvPr id="4" name="Picture 3" descr="A picture containing outdoor object&#10;&#10;Description generated with very high confidence">
            <a:extLst>
              <a:ext uri="{FF2B5EF4-FFF2-40B4-BE49-F238E27FC236}">
                <a16:creationId xmlns:a16="http://schemas.microsoft.com/office/drawing/2014/main" id="{4E890763-C8B3-4A75-A976-F589AB0BA0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2" b="262"/>
          <a:stretch/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B75A0920-A5C0-44B4-805C-2A21395BDE6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white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24EBE55-5E46-48C2-A2DA-89E068769E8D}"/>
              </a:ext>
            </a:extLst>
          </p:cNvPr>
          <p:cNvSpPr/>
          <p:nvPr userDrawn="1"/>
        </p:nvSpPr>
        <p:spPr bwMode="white">
          <a:xfrm>
            <a:off x="558800" y="3876645"/>
            <a:ext cx="417195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6216">
                      <a:schemeClr val="tx1"/>
                    </a:gs>
                    <a:gs pos="39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Learn. Explore. Connect.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FC5D200-6CEC-4229-8BC0-917AEB6D937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089" y="2292759"/>
            <a:ext cx="4170171" cy="115078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8AD14322-0427-4F0E-8DED-539BC2C49B74}"/>
              </a:ext>
            </a:extLst>
          </p:cNvPr>
          <p:cNvSpPr/>
          <p:nvPr userDrawn="1"/>
        </p:nvSpPr>
        <p:spPr bwMode="white">
          <a:xfrm>
            <a:off x="558800" y="4833843"/>
            <a:ext cx="315685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6216">
                      <a:schemeClr val="tx1"/>
                    </a:gs>
                    <a:gs pos="39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Seoul, South Korea</a:t>
            </a:r>
          </a:p>
        </p:txBody>
      </p:sp>
    </p:spTree>
    <p:extLst>
      <p:ext uri="{BB962C8B-B14F-4D97-AF65-F5344CB8AC3E}">
        <p14:creationId xmlns:p14="http://schemas.microsoft.com/office/powerpoint/2010/main" val="42887020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 - Singapor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894CA139-FA58-4871-B272-49F8EFF504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0" y="0"/>
            <a:ext cx="6858000" cy="6858000"/>
          </a:xfrm>
          <a:prstGeom prst="rect">
            <a:avLst/>
          </a:prstGeom>
        </p:spPr>
      </p:pic>
      <p:pic>
        <p:nvPicPr>
          <p:cNvPr id="4" name="Picture 3" descr="A picture containing outdoor object&#10;&#10;Description generated with very high confidence">
            <a:extLst>
              <a:ext uri="{FF2B5EF4-FFF2-40B4-BE49-F238E27FC236}">
                <a16:creationId xmlns:a16="http://schemas.microsoft.com/office/drawing/2014/main" id="{4E890763-C8B3-4A75-A976-F589AB0BA0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2" b="262"/>
          <a:stretch/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B75A0920-A5C0-44B4-805C-2A21395BDE6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white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24EBE55-5E46-48C2-A2DA-89E068769E8D}"/>
              </a:ext>
            </a:extLst>
          </p:cNvPr>
          <p:cNvSpPr/>
          <p:nvPr userDrawn="1"/>
        </p:nvSpPr>
        <p:spPr bwMode="white">
          <a:xfrm>
            <a:off x="558800" y="3876645"/>
            <a:ext cx="417195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6216">
                      <a:schemeClr val="tx1"/>
                    </a:gs>
                    <a:gs pos="39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Learn. Explore. Connect.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FC5D200-6CEC-4229-8BC0-917AEB6D937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089" y="2292759"/>
            <a:ext cx="4170171" cy="115078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8AD14322-0427-4F0E-8DED-539BC2C49B74}"/>
              </a:ext>
            </a:extLst>
          </p:cNvPr>
          <p:cNvSpPr/>
          <p:nvPr userDrawn="1"/>
        </p:nvSpPr>
        <p:spPr bwMode="white">
          <a:xfrm>
            <a:off x="558800" y="4833843"/>
            <a:ext cx="315685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6216">
                      <a:schemeClr val="tx1"/>
                    </a:gs>
                    <a:gs pos="39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Singapore</a:t>
            </a:r>
          </a:p>
        </p:txBody>
      </p:sp>
    </p:spTree>
    <p:extLst>
      <p:ext uri="{BB962C8B-B14F-4D97-AF65-F5344CB8AC3E}">
        <p14:creationId xmlns:p14="http://schemas.microsoft.com/office/powerpoint/2010/main" val="42145851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 - Stockholm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441C468-E45A-4CEB-B1A0-6BEB92654B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0" y="0"/>
            <a:ext cx="6858000" cy="6858000"/>
          </a:xfrm>
          <a:prstGeom prst="rect">
            <a:avLst/>
          </a:prstGeom>
        </p:spPr>
      </p:pic>
      <p:pic>
        <p:nvPicPr>
          <p:cNvPr id="4" name="Picture 3" descr="A picture containing outdoor object&#10;&#10;Description generated with very high confidence">
            <a:extLst>
              <a:ext uri="{FF2B5EF4-FFF2-40B4-BE49-F238E27FC236}">
                <a16:creationId xmlns:a16="http://schemas.microsoft.com/office/drawing/2014/main" id="{4E890763-C8B3-4A75-A976-F589AB0BA0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2" b="262"/>
          <a:stretch/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B75A0920-A5C0-44B4-805C-2A21395BDE6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white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24EBE55-5E46-48C2-A2DA-89E068769E8D}"/>
              </a:ext>
            </a:extLst>
          </p:cNvPr>
          <p:cNvSpPr/>
          <p:nvPr userDrawn="1"/>
        </p:nvSpPr>
        <p:spPr bwMode="white">
          <a:xfrm>
            <a:off x="558800" y="3876645"/>
            <a:ext cx="417195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6216">
                      <a:schemeClr val="tx1"/>
                    </a:gs>
                    <a:gs pos="39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Learn. Explore. Connect.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FC5D200-6CEC-4229-8BC0-917AEB6D937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089" y="2292759"/>
            <a:ext cx="4170171" cy="115078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8AD14322-0427-4F0E-8DED-539BC2C49B74}"/>
              </a:ext>
            </a:extLst>
          </p:cNvPr>
          <p:cNvSpPr/>
          <p:nvPr userDrawn="1"/>
        </p:nvSpPr>
        <p:spPr bwMode="white">
          <a:xfrm>
            <a:off x="558800" y="4833843"/>
            <a:ext cx="315685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6216">
                      <a:schemeClr val="tx1"/>
                    </a:gs>
                    <a:gs pos="39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Stockholm, Sweden</a:t>
            </a:r>
          </a:p>
        </p:txBody>
      </p:sp>
    </p:spTree>
    <p:extLst>
      <p:ext uri="{BB962C8B-B14F-4D97-AF65-F5344CB8AC3E}">
        <p14:creationId xmlns:p14="http://schemas.microsoft.com/office/powerpoint/2010/main" val="17885232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alk-in - Hong Kong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BB37EB0-3E44-4294-88FB-CDAB5D37AB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0" y="0"/>
            <a:ext cx="6858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71D65F6-79E5-40B8-823B-2D765E02901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2" b="262"/>
          <a:stretch/>
        </p:blipFill>
        <p:spPr>
          <a:xfrm>
            <a:off x="0" y="0"/>
            <a:ext cx="12188944" cy="685628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B37BD4BD-096B-42D4-BCCC-34DD12190EA7}"/>
              </a:ext>
            </a:extLst>
          </p:cNvPr>
          <p:cNvSpPr/>
          <p:nvPr userDrawn="1"/>
        </p:nvSpPr>
        <p:spPr bwMode="black">
          <a:xfrm>
            <a:off x="558800" y="4833843"/>
            <a:ext cx="315685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802">
                      <a:srgbClr val="282828"/>
                    </a:gs>
                    <a:gs pos="16216">
                      <a:srgbClr val="282828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Hong Kong, China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55E1281-CD8F-4E29-A202-6B893C2CB5BA}"/>
              </a:ext>
            </a:extLst>
          </p:cNvPr>
          <p:cNvSpPr/>
          <p:nvPr userDrawn="1"/>
        </p:nvSpPr>
        <p:spPr bwMode="black">
          <a:xfrm>
            <a:off x="558800" y="3876645"/>
            <a:ext cx="417195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5405">
                      <a:srgbClr val="282828"/>
                    </a:gs>
                    <a:gs pos="16216">
                      <a:srgbClr val="282828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Learn. Explore. Connect.</a:t>
            </a:r>
          </a:p>
        </p:txBody>
      </p:sp>
      <p:pic>
        <p:nvPicPr>
          <p:cNvPr id="15" name="MS logo gray - EMF" descr="Microsoft logo, gray text version">
            <a:extLst>
              <a:ext uri="{FF2B5EF4-FFF2-40B4-BE49-F238E27FC236}">
                <a16:creationId xmlns:a16="http://schemas.microsoft.com/office/drawing/2014/main" id="{8C18388B-3088-40E8-ABB1-C045F8B4C2F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4192DD28-CC21-4BDF-9992-2F2F6C514B8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089" y="2292759"/>
            <a:ext cx="4170171" cy="1150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20385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 - Sydney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833DC6CE-A6D7-4134-BECB-AD7626BF76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0" y="0"/>
            <a:ext cx="6858000" cy="6858000"/>
          </a:xfrm>
          <a:prstGeom prst="rect">
            <a:avLst/>
          </a:prstGeom>
        </p:spPr>
      </p:pic>
      <p:pic>
        <p:nvPicPr>
          <p:cNvPr id="4" name="Picture 3" descr="A picture containing outdoor object&#10;&#10;Description generated with very high confidence">
            <a:extLst>
              <a:ext uri="{FF2B5EF4-FFF2-40B4-BE49-F238E27FC236}">
                <a16:creationId xmlns:a16="http://schemas.microsoft.com/office/drawing/2014/main" id="{4E890763-C8B3-4A75-A976-F589AB0BA0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2" b="262"/>
          <a:stretch/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B75A0920-A5C0-44B4-805C-2A21395BDE6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white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24EBE55-5E46-48C2-A2DA-89E068769E8D}"/>
              </a:ext>
            </a:extLst>
          </p:cNvPr>
          <p:cNvSpPr/>
          <p:nvPr userDrawn="1"/>
        </p:nvSpPr>
        <p:spPr bwMode="white">
          <a:xfrm>
            <a:off x="558800" y="3876645"/>
            <a:ext cx="417195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6216">
                      <a:schemeClr val="tx1"/>
                    </a:gs>
                    <a:gs pos="39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Learn. Explore. Connect.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FC5D200-6CEC-4229-8BC0-917AEB6D937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089" y="2292759"/>
            <a:ext cx="4170171" cy="115078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8AD14322-0427-4F0E-8DED-539BC2C49B74}"/>
              </a:ext>
            </a:extLst>
          </p:cNvPr>
          <p:cNvSpPr/>
          <p:nvPr userDrawn="1"/>
        </p:nvSpPr>
        <p:spPr bwMode="white">
          <a:xfrm>
            <a:off x="558800" y="4833843"/>
            <a:ext cx="315685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6216">
                      <a:schemeClr val="tx1"/>
                    </a:gs>
                    <a:gs pos="39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Sydney, Australia</a:t>
            </a:r>
          </a:p>
        </p:txBody>
      </p:sp>
    </p:spTree>
    <p:extLst>
      <p:ext uri="{BB962C8B-B14F-4D97-AF65-F5344CB8AC3E}">
        <p14:creationId xmlns:p14="http://schemas.microsoft.com/office/powerpoint/2010/main" val="6266530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 - Tel Aviv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704AACE-461C-46C6-98CC-EB9A5FE54B0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0" y="0"/>
            <a:ext cx="6858000" cy="6858000"/>
          </a:xfrm>
          <a:prstGeom prst="rect">
            <a:avLst/>
          </a:prstGeom>
        </p:spPr>
      </p:pic>
      <p:pic>
        <p:nvPicPr>
          <p:cNvPr id="4" name="Picture 3" descr="A picture containing outdoor object&#10;&#10;Description generated with very high confidence">
            <a:extLst>
              <a:ext uri="{FF2B5EF4-FFF2-40B4-BE49-F238E27FC236}">
                <a16:creationId xmlns:a16="http://schemas.microsoft.com/office/drawing/2014/main" id="{4E890763-C8B3-4A75-A976-F589AB0BA0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2" b="262"/>
          <a:stretch/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B75A0920-A5C0-44B4-805C-2A21395BDE6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white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24EBE55-5E46-48C2-A2DA-89E068769E8D}"/>
              </a:ext>
            </a:extLst>
          </p:cNvPr>
          <p:cNvSpPr/>
          <p:nvPr userDrawn="1"/>
        </p:nvSpPr>
        <p:spPr bwMode="white">
          <a:xfrm>
            <a:off x="558800" y="3876645"/>
            <a:ext cx="417195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6216">
                      <a:schemeClr val="tx1"/>
                    </a:gs>
                    <a:gs pos="39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Learn. Explore. Connect.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FC5D200-6CEC-4229-8BC0-917AEB6D937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089" y="2292759"/>
            <a:ext cx="4170171" cy="115078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8AD14322-0427-4F0E-8DED-539BC2C49B74}"/>
              </a:ext>
            </a:extLst>
          </p:cNvPr>
          <p:cNvSpPr/>
          <p:nvPr userDrawn="1"/>
        </p:nvSpPr>
        <p:spPr bwMode="white">
          <a:xfrm>
            <a:off x="558800" y="4833843"/>
            <a:ext cx="315685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6216">
                      <a:schemeClr val="tx1"/>
                    </a:gs>
                    <a:gs pos="39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Tel Aviv, Israel</a:t>
            </a:r>
          </a:p>
        </p:txBody>
      </p:sp>
    </p:spTree>
    <p:extLst>
      <p:ext uri="{BB962C8B-B14F-4D97-AF65-F5344CB8AC3E}">
        <p14:creationId xmlns:p14="http://schemas.microsoft.com/office/powerpoint/2010/main" val="17649950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 - Toront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17FA061-FC66-4293-AF90-9EA2AD87F3B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0" y="0"/>
            <a:ext cx="6858000" cy="6858000"/>
          </a:xfrm>
          <a:prstGeom prst="rect">
            <a:avLst/>
          </a:prstGeom>
        </p:spPr>
      </p:pic>
      <p:pic>
        <p:nvPicPr>
          <p:cNvPr id="4" name="Picture 3" descr="A picture containing outdoor object&#10;&#10;Description generated with very high confidence">
            <a:extLst>
              <a:ext uri="{FF2B5EF4-FFF2-40B4-BE49-F238E27FC236}">
                <a16:creationId xmlns:a16="http://schemas.microsoft.com/office/drawing/2014/main" id="{4E890763-C8B3-4A75-A976-F589AB0BA0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2" b="262"/>
          <a:stretch/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B75A0920-A5C0-44B4-805C-2A21395BDE6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white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24EBE55-5E46-48C2-A2DA-89E068769E8D}"/>
              </a:ext>
            </a:extLst>
          </p:cNvPr>
          <p:cNvSpPr/>
          <p:nvPr userDrawn="1"/>
        </p:nvSpPr>
        <p:spPr bwMode="white">
          <a:xfrm>
            <a:off x="558800" y="3876645"/>
            <a:ext cx="417195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6216">
                      <a:schemeClr val="tx1"/>
                    </a:gs>
                    <a:gs pos="39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Learn. Explore. Connect.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FC5D200-6CEC-4229-8BC0-917AEB6D937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089" y="2292759"/>
            <a:ext cx="4170171" cy="115078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8AD14322-0427-4F0E-8DED-539BC2C49B74}"/>
              </a:ext>
            </a:extLst>
          </p:cNvPr>
          <p:cNvSpPr/>
          <p:nvPr userDrawn="1"/>
        </p:nvSpPr>
        <p:spPr bwMode="white">
          <a:xfrm>
            <a:off x="558800" y="4833843"/>
            <a:ext cx="315685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6216">
                      <a:schemeClr val="tx1"/>
                    </a:gs>
                    <a:gs pos="39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Toronto, Ontario</a:t>
            </a:r>
          </a:p>
        </p:txBody>
      </p:sp>
    </p:spTree>
    <p:extLst>
      <p:ext uri="{BB962C8B-B14F-4D97-AF65-F5344CB8AC3E}">
        <p14:creationId xmlns:p14="http://schemas.microsoft.com/office/powerpoint/2010/main" val="9903665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 - Washington, D.C.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EF1E02D8-5C05-4272-BA0F-0E2969F9F7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0" y="0"/>
            <a:ext cx="6858000" cy="6858000"/>
          </a:xfrm>
          <a:prstGeom prst="rect">
            <a:avLst/>
          </a:prstGeom>
        </p:spPr>
      </p:pic>
      <p:pic>
        <p:nvPicPr>
          <p:cNvPr id="4" name="Picture 3" descr="A picture containing outdoor object&#10;&#10;Description generated with very high confidence">
            <a:extLst>
              <a:ext uri="{FF2B5EF4-FFF2-40B4-BE49-F238E27FC236}">
                <a16:creationId xmlns:a16="http://schemas.microsoft.com/office/drawing/2014/main" id="{4E890763-C8B3-4A75-A976-F589AB0BA0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2" b="262"/>
          <a:stretch/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B75A0920-A5C0-44B4-805C-2A21395BDE6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white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24EBE55-5E46-48C2-A2DA-89E068769E8D}"/>
              </a:ext>
            </a:extLst>
          </p:cNvPr>
          <p:cNvSpPr/>
          <p:nvPr userDrawn="1"/>
        </p:nvSpPr>
        <p:spPr bwMode="white">
          <a:xfrm>
            <a:off x="558800" y="3876645"/>
            <a:ext cx="417195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6216">
                      <a:schemeClr val="tx1"/>
                    </a:gs>
                    <a:gs pos="39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Learn. Explore. Connect.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FC5D200-6CEC-4229-8BC0-917AEB6D937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089" y="2292759"/>
            <a:ext cx="4170171" cy="115078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8AD14322-0427-4F0E-8DED-539BC2C49B74}"/>
              </a:ext>
            </a:extLst>
          </p:cNvPr>
          <p:cNvSpPr/>
          <p:nvPr userDrawn="1"/>
        </p:nvSpPr>
        <p:spPr bwMode="white">
          <a:xfrm>
            <a:off x="558800" y="4833843"/>
            <a:ext cx="315685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6216">
                      <a:schemeClr val="tx1"/>
                    </a:gs>
                    <a:gs pos="39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Washington, D.C.</a:t>
            </a:r>
          </a:p>
        </p:txBody>
      </p:sp>
    </p:spTree>
    <p:extLst>
      <p:ext uri="{BB962C8B-B14F-4D97-AF65-F5344CB8AC3E}">
        <p14:creationId xmlns:p14="http://schemas.microsoft.com/office/powerpoint/2010/main" val="11527783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7844861-E1A0-40D6-8C8C-27C4D41A8E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2" b="262"/>
          <a:stretch/>
        </p:blipFill>
        <p:spPr>
          <a:xfrm>
            <a:off x="1528" y="860"/>
            <a:ext cx="12188944" cy="6856281"/>
          </a:xfrm>
          <a:prstGeom prst="rect">
            <a:avLst/>
          </a:prstGeom>
        </p:spPr>
      </p:pic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0FD32619-3819-428A-8565-629596C9141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white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584200" y="2979778"/>
            <a:ext cx="7589520" cy="553998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84200" y="3962400"/>
            <a:ext cx="758952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19385043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28" userDrawn="1">
          <p15:clr>
            <a:srgbClr val="5ACBF0"/>
          </p15:clr>
        </p15:guide>
        <p15:guide id="2" orient="horz" pos="2496" userDrawn="1">
          <p15:clr>
            <a:srgbClr val="5ACBF0"/>
          </p15:clr>
        </p15:guide>
        <p15:guide id="3" pos="6132" userDrawn="1">
          <p15:clr>
            <a:srgbClr val="5ACBF0"/>
          </p15:clr>
        </p15:guide>
        <p15:guide id="4" orient="horz" pos="2160" userDrawn="1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bg bwMode="black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 bwMode="white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 bwMode="white"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883552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 bwMode="black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 bwMode="white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 bwMode="white"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4637614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bg bwMode="black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 bwMode="white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 bwMode="white"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4046539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bg bwMode="black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 bwMode="white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 bwMode="white"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white"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6257508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 bwMode="black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 bwMode="white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7983279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alk-in - Johannesburg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83D1353-C378-4EB9-86AA-27082DCB7C3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0" y="0"/>
            <a:ext cx="6858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B934657-DE70-4DD3-A561-5E69B9CDEE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2" b="262"/>
          <a:stretch/>
        </p:blipFill>
        <p:spPr>
          <a:xfrm>
            <a:off x="0" y="0"/>
            <a:ext cx="12188944" cy="685628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54A5C11B-A688-4A85-AD8E-924D9ABB2113}"/>
              </a:ext>
            </a:extLst>
          </p:cNvPr>
          <p:cNvSpPr/>
          <p:nvPr userDrawn="1"/>
        </p:nvSpPr>
        <p:spPr bwMode="black">
          <a:xfrm>
            <a:off x="558800" y="4833843"/>
            <a:ext cx="315685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802">
                      <a:srgbClr val="282828"/>
                    </a:gs>
                    <a:gs pos="16216">
                      <a:srgbClr val="282828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Johannesburg, South Africa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220F1AE-B4AD-4CA1-9E5C-0EE38A4EA2A6}"/>
              </a:ext>
            </a:extLst>
          </p:cNvPr>
          <p:cNvSpPr/>
          <p:nvPr userDrawn="1"/>
        </p:nvSpPr>
        <p:spPr bwMode="black">
          <a:xfrm>
            <a:off x="558800" y="3876645"/>
            <a:ext cx="417195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5405">
                      <a:srgbClr val="282828"/>
                    </a:gs>
                    <a:gs pos="16216">
                      <a:srgbClr val="282828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Learn. Explore. Connect.</a:t>
            </a:r>
          </a:p>
        </p:txBody>
      </p:sp>
      <p:pic>
        <p:nvPicPr>
          <p:cNvPr id="15" name="MS logo gray - EMF" descr="Microsoft logo, gray text version">
            <a:extLst>
              <a:ext uri="{FF2B5EF4-FFF2-40B4-BE49-F238E27FC236}">
                <a16:creationId xmlns:a16="http://schemas.microsoft.com/office/drawing/2014/main" id="{A9DED20B-F03D-4F38-8470-5775DF78D61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5FED5F8-DF83-4D2E-9192-81D462E7ABE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089" y="2292759"/>
            <a:ext cx="4170171" cy="1150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53667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bg bwMode="black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 bwMode="white"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1355872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bg bwMode="black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584200" y="2025650"/>
            <a:ext cx="4161981" cy="1107996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Title format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white">
          <a:xfrm>
            <a:off x="584200" y="3535541"/>
            <a:ext cx="4162425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6178F5D2-7CA2-4202-8FD2-95D8F7A2E98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86964685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bg bwMode="black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584025" y="2875002"/>
            <a:ext cx="4161981" cy="1107996"/>
          </a:xfrm>
        </p:spPr>
        <p:txBody>
          <a:bodyPr wrap="square" rIns="0" anchor="ctr" anchorCtr="0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Title  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3956AAB8-C2DF-40F3-A72B-0FA6F47702E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35870849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pos="2991">
          <p15:clr>
            <a:srgbClr val="5ACBF0"/>
          </p15:clr>
        </p15:guide>
        <p15:guide id="7" pos="3728">
          <p15:clr>
            <a:srgbClr val="C35EA4"/>
          </p15:clr>
        </p15:guide>
        <p15:guide id="8" pos="3544">
          <p15:clr>
            <a:srgbClr val="A4A3A4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2">
    <p:bg bwMode="black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584200" y="2981637"/>
            <a:ext cx="4160520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smaller text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18102CFD-D7DD-461F-B675-FAE01404E55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305466288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1877">
          <p15:clr>
            <a:srgbClr val="5ACBF0"/>
          </p15:clr>
        </p15:guide>
        <p15:guide id="4" pos="3731">
          <p15:clr>
            <a:srgbClr val="C35EA4"/>
          </p15:clr>
        </p15:guide>
        <p15:guide id="5" pos="2993">
          <p15:clr>
            <a:srgbClr val="5ACBF0"/>
          </p15:clr>
        </p15:guide>
        <p15:guide id="6" pos="3547">
          <p15:clr>
            <a:srgbClr val="A4A3A4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mo slide">
    <p:bg bwMode="black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585216" y="3033223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85216" y="3977319"/>
            <a:ext cx="914400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8976025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6135" userDrawn="1">
          <p15:clr>
            <a:srgbClr val="5ACBF0"/>
          </p15:clr>
        </p15:guide>
        <p15:guide id="3" orient="horz" pos="1910" userDrawn="1">
          <p15:clr>
            <a:srgbClr val="5ACBF0"/>
          </p15:clr>
        </p15:guide>
        <p15:guide id="4" orient="horz" pos="2505" userDrawn="1">
          <p15:clr>
            <a:srgbClr val="5ACBF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ideo slide">
    <p:bg bwMode="black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5555108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 userDrawn="1">
          <p15:clr>
            <a:srgbClr val="5ACBF0"/>
          </p15:clr>
        </p15:guide>
        <p15:guide id="3" orient="horz" pos="1914" userDrawn="1">
          <p15:clr>
            <a:srgbClr val="5ACBF0"/>
          </p15:clr>
        </p15:guide>
        <p15:guide id="4" orient="horz" pos="2505" userDrawn="1">
          <p15:clr>
            <a:srgbClr val="5ACBF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Title">
    <p:bg bwMode="black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6503582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6127" userDrawn="1">
          <p15:clr>
            <a:srgbClr val="5ACBF0"/>
          </p15:clr>
        </p15:guide>
        <p15:guide id="3" orient="horz" pos="1911" userDrawn="1">
          <p15:clr>
            <a:srgbClr val="5ACBF0"/>
          </p15:clr>
        </p15:guide>
        <p15:guide id="4" orient="horz" pos="2505" userDrawn="1">
          <p15:clr>
            <a:srgbClr val="5ACBF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black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782780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bg bwMode="black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/>
        <p:txBody>
          <a:bodyPr/>
          <a:lstStyle>
            <a:lvl1pPr>
              <a:defRPr/>
            </a:lvl1pPr>
          </a:lstStyle>
          <a:p>
            <a:r>
              <a:rPr lang="en-US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white"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5742730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osing logo slide">
    <p:bg bwMode="black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MS logo white - EMF" descr="Microsoft logo white text version">
            <a:extLst>
              <a:ext uri="{FF2B5EF4-FFF2-40B4-BE49-F238E27FC236}">
                <a16:creationId xmlns:a16="http://schemas.microsoft.com/office/drawing/2014/main" id="{70D3778F-A717-44C8-9013-FF206B15DD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white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50691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alk-in - Londo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061230B-5238-4A52-A85A-8767C4E9ED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0" y="0"/>
            <a:ext cx="6858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9A18902-BF59-4479-A537-66FD1E35DF5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2" b="262"/>
          <a:stretch/>
        </p:blipFill>
        <p:spPr>
          <a:xfrm>
            <a:off x="0" y="0"/>
            <a:ext cx="12188944" cy="685628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2185FA9F-28EA-426A-818A-41EFF4195844}"/>
              </a:ext>
            </a:extLst>
          </p:cNvPr>
          <p:cNvSpPr/>
          <p:nvPr userDrawn="1"/>
        </p:nvSpPr>
        <p:spPr bwMode="black">
          <a:xfrm>
            <a:off x="558800" y="4833843"/>
            <a:ext cx="315685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802">
                      <a:srgbClr val="282828"/>
                    </a:gs>
                    <a:gs pos="16216">
                      <a:srgbClr val="282828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London, England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DAF1D7A-3374-48EF-8521-9E6666DCE2DA}"/>
              </a:ext>
            </a:extLst>
          </p:cNvPr>
          <p:cNvSpPr/>
          <p:nvPr userDrawn="1"/>
        </p:nvSpPr>
        <p:spPr bwMode="black">
          <a:xfrm>
            <a:off x="558800" y="3876645"/>
            <a:ext cx="417195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5405">
                      <a:srgbClr val="282828"/>
                    </a:gs>
                    <a:gs pos="16216">
                      <a:srgbClr val="282828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Learn. Explore. Connect.</a:t>
            </a:r>
          </a:p>
        </p:txBody>
      </p:sp>
      <p:pic>
        <p:nvPicPr>
          <p:cNvPr id="15" name="MS logo gray - EMF" descr="Microsoft logo, gray text version">
            <a:extLst>
              <a:ext uri="{FF2B5EF4-FFF2-40B4-BE49-F238E27FC236}">
                <a16:creationId xmlns:a16="http://schemas.microsoft.com/office/drawing/2014/main" id="{635907B1-6FE9-48EB-BB73-30EEA8608C4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3B9A3ED0-664E-48A5-8F62-D85C153B7C8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089" y="2292759"/>
            <a:ext cx="4170171" cy="1150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08952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408254910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Accent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85873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Accent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40994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hotograph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4FF6A6F-1161-4F3B-AB85-F0FC5E37F157}"/>
              </a:ext>
            </a:extLst>
          </p:cNvPr>
          <p:cNvSpPr/>
          <p:nvPr userDrawn="1"/>
        </p:nvSpPr>
        <p:spPr bwMode="auto">
          <a:xfrm>
            <a:off x="0" y="4285753"/>
            <a:ext cx="12192000" cy="2572246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 Semilight" panose="020B0402040204020203" pitchFamily="34" charset="0"/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>
            <a:extLst>
              <a:ext uri="{FF2B5EF4-FFF2-40B4-BE49-F238E27FC236}">
                <a16:creationId xmlns:a16="http://schemas.microsoft.com/office/drawing/2014/main" id="{5341C66E-C976-475B-B45F-53BD1D51C6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4639188"/>
            <a:ext cx="11506642" cy="738247"/>
          </a:xfrm>
        </p:spPr>
        <p:txBody>
          <a:bodyPr lIns="0" rIns="0"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45D09F9F-8C07-4EF1-B73B-881584FC26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9240" y="5402437"/>
            <a:ext cx="11506642" cy="572464"/>
          </a:xfrm>
        </p:spPr>
        <p:txBody>
          <a:bodyPr lIns="0" rIns="0"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Speaker name</a:t>
            </a:r>
          </a:p>
        </p:txBody>
      </p:sp>
      <p:pic>
        <p:nvPicPr>
          <p:cNvPr id="8" name="MS logo white - EMF">
            <a:extLst>
              <a:ext uri="{FF2B5EF4-FFF2-40B4-BE49-F238E27FC236}">
                <a16:creationId xmlns:a16="http://schemas.microsoft.com/office/drawing/2014/main" id="{CB37031A-8CA6-4651-887D-3C8FD5B797D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269240" y="6237502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06602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250">
        <p:fade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Photo Accent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4FF6A6F-1161-4F3B-AB85-F0FC5E37F157}"/>
              </a:ext>
            </a:extLst>
          </p:cNvPr>
          <p:cNvSpPr/>
          <p:nvPr userDrawn="1"/>
        </p:nvSpPr>
        <p:spPr bwMode="auto">
          <a:xfrm>
            <a:off x="0" y="4285754"/>
            <a:ext cx="12192000" cy="2572246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 Semilight" panose="020B0402040204020203" pitchFamily="34" charset="0"/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>
            <a:extLst>
              <a:ext uri="{FF2B5EF4-FFF2-40B4-BE49-F238E27FC236}">
                <a16:creationId xmlns:a16="http://schemas.microsoft.com/office/drawing/2014/main" id="{5341C66E-C976-475B-B45F-53BD1D51C6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4639188"/>
            <a:ext cx="11506642" cy="738247"/>
          </a:xfrm>
        </p:spPr>
        <p:txBody>
          <a:bodyPr lIns="0" rIns="0"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45D09F9F-8C07-4EF1-B73B-881584FC26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9240" y="5402437"/>
            <a:ext cx="11506642" cy="572464"/>
          </a:xfrm>
        </p:spPr>
        <p:txBody>
          <a:bodyPr lIns="0" rIns="0"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Speaker name</a:t>
            </a:r>
          </a:p>
        </p:txBody>
      </p:sp>
      <p:pic>
        <p:nvPicPr>
          <p:cNvPr id="8" name="MS logo white - EMF">
            <a:extLst>
              <a:ext uri="{FF2B5EF4-FFF2-40B4-BE49-F238E27FC236}">
                <a16:creationId xmlns:a16="http://schemas.microsoft.com/office/drawing/2014/main" id="{CB37031A-8CA6-4651-887D-3C8FD5B797D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269240" y="6237502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78956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250">
        <p:fade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Accent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4E58455-0901-4138-A651-DFA5F90D0744}"/>
              </a:ext>
            </a:extLst>
          </p:cNvPr>
          <p:cNvSpPr/>
          <p:nvPr userDrawn="1"/>
        </p:nvSpPr>
        <p:spPr bwMode="auto">
          <a:xfrm>
            <a:off x="0" y="0"/>
            <a:ext cx="4562168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 Semilight" panose="020B0402040204020203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2084187"/>
            <a:ext cx="4008783" cy="1793090"/>
          </a:xfrm>
          <a:noFill/>
        </p:spPr>
        <p:txBody>
          <a:bodyPr lIns="146304" tIns="91440" rIns="146304" bIns="91440" anchor="t" anchorCtr="0"/>
          <a:lstStyle>
            <a:lvl1pPr>
              <a:defRPr sz="4000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3207021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4154053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Accent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BFC90E5-5EAE-4D2D-86D4-1188623CC519}"/>
              </a:ext>
            </a:extLst>
          </p:cNvPr>
          <p:cNvSpPr/>
          <p:nvPr userDrawn="1"/>
        </p:nvSpPr>
        <p:spPr bwMode="auto">
          <a:xfrm>
            <a:off x="0" y="0"/>
            <a:ext cx="4562168" cy="6858000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 Semilight" panose="020B0402040204020203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3207021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1A7DA1-9773-46AE-9BB6-067DFA1948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303" y="2084187"/>
            <a:ext cx="4005072" cy="179232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FontTx/>
              <a:buNone/>
              <a:defRPr sz="4000"/>
            </a:lvl1pPr>
          </a:lstStyle>
          <a:p>
            <a:pPr lvl="0"/>
            <a:r>
              <a:rPr lang="en-US"/>
              <a:t>Chapter Tit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121387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22665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5B873EF7-85CA-4480-B1DE-AA7FAAAF39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01923" y="6593624"/>
            <a:ext cx="3188155" cy="137160"/>
          </a:xfrm>
          <a:prstGeom prst="rect">
            <a:avLst/>
          </a:prstGeom>
        </p:spPr>
        <p:txBody>
          <a:bodyPr lIns="0" rIns="0" anchor="ctr"/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E244B1DC-0092-4409-B4A3-B4C3C02820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86665" y="6593624"/>
            <a:ext cx="636097" cy="137160"/>
          </a:xfrm>
          <a:prstGeom prst="rect">
            <a:avLst/>
          </a:prstGeom>
        </p:spPr>
        <p:txBody>
          <a:bodyPr rIns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27258FFF-F925-446B-8502-81C93398170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9253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22665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78B41CEB-CDB1-44AC-A24B-7EF2672022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01923" y="6593624"/>
            <a:ext cx="3188155" cy="137160"/>
          </a:xfrm>
          <a:prstGeom prst="rect">
            <a:avLst/>
          </a:prstGeom>
        </p:spPr>
        <p:txBody>
          <a:bodyPr lIns="0" rIns="0" anchor="ctr"/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0011E047-A914-44E1-B2F3-55BE68B2E8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86665" y="6593624"/>
            <a:ext cx="636097" cy="137160"/>
          </a:xfrm>
          <a:prstGeom prst="rect">
            <a:avLst/>
          </a:prstGeom>
        </p:spPr>
        <p:txBody>
          <a:bodyPr rIns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27258FFF-F925-446B-8502-81C93398170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589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Accent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182511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D29B7C52-54F9-4B51-AD99-1D848ADBF1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01923" y="6593624"/>
            <a:ext cx="3188155" cy="137160"/>
          </a:xfrm>
          <a:prstGeom prst="rect">
            <a:avLst/>
          </a:prstGeom>
        </p:spPr>
        <p:txBody>
          <a:bodyPr lIns="0" rIns="0" anchor="ctr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01DC4D1C-43A2-4607-9C80-ECDB9546DB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86665" y="6593624"/>
            <a:ext cx="636097" cy="137160"/>
          </a:xfrm>
          <a:prstGeom prst="rect">
            <a:avLst/>
          </a:prstGeom>
        </p:spPr>
        <p:txBody>
          <a:bodyPr rIns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27258FFF-F925-446B-8502-81C93398170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6005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alk-in - Mexico City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CAAC206-0445-4EDF-BDD9-EDE7806E884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0" y="0"/>
            <a:ext cx="6858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0324E78-9E7B-4F5A-BB26-F9F2C28741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2" b="262"/>
          <a:stretch/>
        </p:blipFill>
        <p:spPr>
          <a:xfrm>
            <a:off x="0" y="0"/>
            <a:ext cx="12188944" cy="685628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A69C56B-55C7-47C1-895B-831CB28D85F6}"/>
              </a:ext>
            </a:extLst>
          </p:cNvPr>
          <p:cNvSpPr/>
          <p:nvPr userDrawn="1"/>
        </p:nvSpPr>
        <p:spPr bwMode="black">
          <a:xfrm>
            <a:off x="558800" y="4833843"/>
            <a:ext cx="315685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802">
                      <a:srgbClr val="282828"/>
                    </a:gs>
                    <a:gs pos="16216">
                      <a:srgbClr val="282828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Mexico City, Mexico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B1343A7-AC17-45FD-A391-6F45766667FC}"/>
              </a:ext>
            </a:extLst>
          </p:cNvPr>
          <p:cNvSpPr/>
          <p:nvPr userDrawn="1"/>
        </p:nvSpPr>
        <p:spPr bwMode="black">
          <a:xfrm>
            <a:off x="558800" y="3876645"/>
            <a:ext cx="417195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5405">
                      <a:srgbClr val="282828"/>
                    </a:gs>
                    <a:gs pos="16216">
                      <a:srgbClr val="282828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Learn. Explore. Connect.</a:t>
            </a:r>
          </a:p>
        </p:txBody>
      </p:sp>
      <p:pic>
        <p:nvPicPr>
          <p:cNvPr id="15" name="MS logo gray - EMF" descr="Microsoft logo, gray text version">
            <a:extLst>
              <a:ext uri="{FF2B5EF4-FFF2-40B4-BE49-F238E27FC236}">
                <a16:creationId xmlns:a16="http://schemas.microsoft.com/office/drawing/2014/main" id="{1FCA9EAB-6A53-4FB0-BA89-615D83D0592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AE13C3EF-2C9C-430B-A39C-5925A8CBE21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089" y="2292759"/>
            <a:ext cx="4170171" cy="1150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90706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Accent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182511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7521AD29-3A96-41D7-9654-36AB53384A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01923" y="6593624"/>
            <a:ext cx="3188155" cy="137160"/>
          </a:xfrm>
          <a:prstGeom prst="rect">
            <a:avLst/>
          </a:prstGeom>
        </p:spPr>
        <p:txBody>
          <a:bodyPr lIns="0" rIns="0" anchor="ctr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A9B11646-8A2F-4C5E-A66C-FFE4AE1050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86665" y="6593624"/>
            <a:ext cx="636097" cy="137160"/>
          </a:xfrm>
          <a:prstGeom prst="rect">
            <a:avLst/>
          </a:prstGeom>
        </p:spPr>
        <p:txBody>
          <a:bodyPr rIns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27258FFF-F925-446B-8502-81C93398170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5133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9F0D7-A01C-40D5-9155-B9B274B732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8"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9F0D7-A01C-40D5-9155-B9B274B732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FD83EC4B-53A6-497D-AF8A-D5A9D00EDB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01923" y="6593624"/>
            <a:ext cx="3188155" cy="137160"/>
          </a:xfrm>
          <a:prstGeom prst="rect">
            <a:avLst/>
          </a:prstGeom>
        </p:spPr>
        <p:txBody>
          <a:bodyPr lIns="0" rIns="0" anchor="ctr"/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5DB83BD3-A965-4D22-BA91-5B9901A84E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86665" y="6593624"/>
            <a:ext cx="636097" cy="137160"/>
          </a:xfrm>
          <a:prstGeom prst="rect">
            <a:avLst/>
          </a:prstGeom>
        </p:spPr>
        <p:txBody>
          <a:bodyPr rIns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27258FFF-F925-446B-8502-81C93398170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2434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79AE568-28D0-4EDC-9AEB-B535CA10FF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2"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79AE568-28D0-4EDC-9AEB-B535CA10FF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D357E75B-67B2-4B34-A147-F62961CA48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01923" y="6593624"/>
            <a:ext cx="3188155" cy="137160"/>
          </a:xfrm>
          <a:prstGeom prst="rect">
            <a:avLst/>
          </a:prstGeom>
        </p:spPr>
        <p:txBody>
          <a:bodyPr lIns="0" rIns="0" anchor="ctr"/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C7375C8F-B7A2-455E-AF76-C2F27E7575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86665" y="6593624"/>
            <a:ext cx="636097" cy="137160"/>
          </a:xfrm>
          <a:prstGeom prst="rect">
            <a:avLst/>
          </a:prstGeom>
        </p:spPr>
        <p:txBody>
          <a:bodyPr rIns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27258FFF-F925-446B-8502-81C93398170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6582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Accent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55EB30EA-1435-4FD4-87D5-B5388464DD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01923" y="6593624"/>
            <a:ext cx="3188155" cy="137160"/>
          </a:xfrm>
          <a:prstGeom prst="rect">
            <a:avLst/>
          </a:prstGeom>
        </p:spPr>
        <p:txBody>
          <a:bodyPr lIns="0" rIns="0" anchor="ctr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84ED76D0-1A5F-4F76-8541-7ADAF5DA3B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86665" y="6593624"/>
            <a:ext cx="636097" cy="137160"/>
          </a:xfrm>
          <a:prstGeom prst="rect">
            <a:avLst/>
          </a:prstGeom>
        </p:spPr>
        <p:txBody>
          <a:bodyPr rIns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27258FFF-F925-446B-8502-81C93398170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7944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Accent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529B25CE-7DFB-4B02-A3B9-7DAD6334CF0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01923" y="6593624"/>
            <a:ext cx="3188155" cy="137160"/>
          </a:xfrm>
          <a:prstGeom prst="rect">
            <a:avLst/>
          </a:prstGeom>
        </p:spPr>
        <p:txBody>
          <a:bodyPr lIns="0" rIns="0" anchor="ctr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22FB5FAC-A59A-4AA9-B88A-C647F98D4B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86665" y="6593624"/>
            <a:ext cx="636097" cy="137160"/>
          </a:xfrm>
          <a:prstGeom prst="rect">
            <a:avLst/>
          </a:prstGeom>
        </p:spPr>
        <p:txBody>
          <a:bodyPr rIns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27258FFF-F925-446B-8502-81C93398170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6053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Clouds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7C1316A-325C-4A2D-8CB8-6AD6EE6F5A7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7620"/>
            <a:ext cx="12192000" cy="684276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CE9169AE-3A17-49E0-8D3B-167049A7BF8A}"/>
              </a:ext>
            </a:extLst>
          </p:cNvPr>
          <p:cNvSpPr/>
          <p:nvPr userDrawn="1"/>
        </p:nvSpPr>
        <p:spPr bwMode="auto">
          <a:xfrm>
            <a:off x="0" y="0"/>
            <a:ext cx="12192000" cy="6883121"/>
          </a:xfrm>
          <a:prstGeom prst="rect">
            <a:avLst/>
          </a:prstGeom>
          <a:solidFill>
            <a:schemeClr val="bg1">
              <a:alpha val="51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 Semilight" panose="020B04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741DA45B-DF48-4611-8969-D551B6CD7D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01923" y="6593624"/>
            <a:ext cx="3188155" cy="137160"/>
          </a:xfrm>
          <a:prstGeom prst="rect">
            <a:avLst/>
          </a:prstGeom>
        </p:spPr>
        <p:txBody>
          <a:bodyPr lIns="0" rIns="0" anchor="ctr"/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A140830D-7DFC-46DA-AF0F-31A4343242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86665" y="6593624"/>
            <a:ext cx="636097" cy="137160"/>
          </a:xfrm>
          <a:prstGeom prst="rect">
            <a:avLst/>
          </a:prstGeom>
        </p:spPr>
        <p:txBody>
          <a:bodyPr rIns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27258FFF-F925-446B-8502-81C93398170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236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 Clouds Gre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6F78677C-6CC7-459C-A6BD-A1A32F6A4A3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4025"/>
            <a:ext cx="12192000" cy="6849949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4492DE3-8258-4D90-9C10-4874EE1C98AD}"/>
              </a:ext>
            </a:extLst>
          </p:cNvPr>
          <p:cNvSpPr/>
          <p:nvPr userDrawn="1"/>
        </p:nvSpPr>
        <p:spPr bwMode="auto">
          <a:xfrm>
            <a:off x="0" y="0"/>
            <a:ext cx="12192000" cy="6883121"/>
          </a:xfrm>
          <a:prstGeom prst="rect">
            <a:avLst/>
          </a:prstGeom>
          <a:solidFill>
            <a:schemeClr val="bg1">
              <a:alpha val="51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 Semilight" panose="020B04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E0C903B3-4F2D-4678-95DF-AE34833677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01923" y="6593624"/>
            <a:ext cx="3188155" cy="137160"/>
          </a:xfrm>
          <a:prstGeom prst="rect">
            <a:avLst/>
          </a:prstGeom>
        </p:spPr>
        <p:txBody>
          <a:bodyPr lIns="0" rIns="0" anchor="ctr"/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3B695F39-708C-4108-8F3F-F321ECC6A1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86665" y="6593624"/>
            <a:ext cx="636097" cy="137160"/>
          </a:xfrm>
          <a:prstGeom prst="rect">
            <a:avLst/>
          </a:prstGeom>
        </p:spPr>
        <p:txBody>
          <a:bodyPr rIns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27258FFF-F925-446B-8502-81C93398170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4378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32297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99962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0407337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alk-in - Mila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45F18C4-D875-4888-9D49-9BF2F9BF629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0" y="0"/>
            <a:ext cx="6858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ED35D14-6F97-4F68-8A45-18D88B5FE4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2" b="262"/>
          <a:stretch/>
        </p:blipFill>
        <p:spPr>
          <a:xfrm>
            <a:off x="0" y="0"/>
            <a:ext cx="12188944" cy="685628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57F6F04-76A7-4674-B48C-86896E9D24AE}"/>
              </a:ext>
            </a:extLst>
          </p:cNvPr>
          <p:cNvSpPr/>
          <p:nvPr userDrawn="1"/>
        </p:nvSpPr>
        <p:spPr bwMode="black">
          <a:xfrm>
            <a:off x="558800" y="4833843"/>
            <a:ext cx="315685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802">
                      <a:srgbClr val="282828"/>
                    </a:gs>
                    <a:gs pos="16216">
                      <a:srgbClr val="282828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Milan, Ital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61CC482-7D54-4142-B7D5-F91D12D5B04E}"/>
              </a:ext>
            </a:extLst>
          </p:cNvPr>
          <p:cNvSpPr/>
          <p:nvPr userDrawn="1"/>
        </p:nvSpPr>
        <p:spPr bwMode="black">
          <a:xfrm>
            <a:off x="558800" y="3876645"/>
            <a:ext cx="417195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5405">
                      <a:srgbClr val="282828"/>
                    </a:gs>
                    <a:gs pos="16216">
                      <a:srgbClr val="282828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Learn. Explore. Connect.</a:t>
            </a:r>
          </a:p>
        </p:txBody>
      </p:sp>
      <p:pic>
        <p:nvPicPr>
          <p:cNvPr id="15" name="MS logo gray - EMF" descr="Microsoft logo, gray text version">
            <a:extLst>
              <a:ext uri="{FF2B5EF4-FFF2-40B4-BE49-F238E27FC236}">
                <a16:creationId xmlns:a16="http://schemas.microsoft.com/office/drawing/2014/main" id="{3F86CAB5-0BF5-4F08-B9D7-636182E4EAC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3D588729-EF46-4B53-BF14-910CED0D1E4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089" y="2292759"/>
            <a:ext cx="4170171" cy="1150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74627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2448674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34E7F187-FF3A-4481-B785-48EB45CEDF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01923" y="6593624"/>
            <a:ext cx="3188155" cy="137160"/>
          </a:xfrm>
          <a:prstGeom prst="rect">
            <a:avLst/>
          </a:prstGeom>
        </p:spPr>
        <p:txBody>
          <a:bodyPr lIns="0" rIns="0" anchor="ctr"/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68506668-66C3-4AA6-AC7F-D0900BAEDE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86665" y="6593624"/>
            <a:ext cx="636097" cy="137160"/>
          </a:xfrm>
          <a:prstGeom prst="rect">
            <a:avLst/>
          </a:prstGeom>
        </p:spPr>
        <p:txBody>
          <a:bodyPr rIns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27258FFF-F925-446B-8502-81C93398170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8971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39C78C4-DF1F-4541-A75E-C9D3F23C8F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6"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39C78C4-DF1F-4541-A75E-C9D3F23C8F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5C683D75-2F44-4F14-B0F0-80F0E0ED5C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01923" y="6593624"/>
            <a:ext cx="3188155" cy="137160"/>
          </a:xfrm>
          <a:prstGeom prst="rect">
            <a:avLst/>
          </a:prstGeom>
        </p:spPr>
        <p:txBody>
          <a:bodyPr lIns="0" rIns="0" anchor="ctr"/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D8762DCC-FA6F-46AC-B7F2-DDE2664EFE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86665" y="6593624"/>
            <a:ext cx="636097" cy="137160"/>
          </a:xfrm>
          <a:prstGeom prst="rect">
            <a:avLst/>
          </a:prstGeom>
        </p:spPr>
        <p:txBody>
          <a:bodyPr rIns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27258FFF-F925-446B-8502-81C93398170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500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4D3C3593-5DA6-4DE9-A05B-D8E1B92261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01923" y="6593624"/>
            <a:ext cx="3188155" cy="137160"/>
          </a:xfrm>
          <a:prstGeom prst="rect">
            <a:avLst/>
          </a:prstGeom>
        </p:spPr>
        <p:txBody>
          <a:bodyPr lIns="0" rIns="0" anchor="ctr"/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0025E99-81F1-4F1E-9F76-B06959FD8C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86665" y="6593624"/>
            <a:ext cx="636097" cy="137160"/>
          </a:xfrm>
          <a:prstGeom prst="rect">
            <a:avLst/>
          </a:prstGeom>
        </p:spPr>
        <p:txBody>
          <a:bodyPr rIns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27258FFF-F925-446B-8502-81C93398170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56078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45DBA983-4376-4E9D-95C8-6EBFE0A247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01923" y="6593624"/>
            <a:ext cx="3188155" cy="137160"/>
          </a:xfrm>
          <a:prstGeom prst="rect">
            <a:avLst/>
          </a:prstGeom>
        </p:spPr>
        <p:txBody>
          <a:bodyPr lIns="0" rIns="0" anchor="ctr"/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58DA166-508E-454F-8EB8-220DDB2634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86665" y="6593624"/>
            <a:ext cx="636097" cy="137160"/>
          </a:xfrm>
          <a:prstGeom prst="rect">
            <a:avLst/>
          </a:prstGeom>
        </p:spPr>
        <p:txBody>
          <a:bodyPr rIns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27258FFF-F925-446B-8502-81C93398170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32428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Clouds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C52595E-2947-4C1C-8161-35820A6C9D2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7620"/>
            <a:ext cx="12192000" cy="684276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72A5F6ED-0DF6-434D-885B-84F4EDCA0880}"/>
              </a:ext>
            </a:extLst>
          </p:cNvPr>
          <p:cNvSpPr/>
          <p:nvPr userDrawn="1"/>
        </p:nvSpPr>
        <p:spPr bwMode="auto">
          <a:xfrm>
            <a:off x="0" y="0"/>
            <a:ext cx="12260826" cy="6883121"/>
          </a:xfrm>
          <a:prstGeom prst="rect">
            <a:avLst/>
          </a:prstGeom>
          <a:solidFill>
            <a:schemeClr val="bg1">
              <a:alpha val="51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 Semilight" panose="020B0402040204020203" pitchFamily="34" charset="0"/>
            </a:endParaRP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C722C5FB-EB4B-4AD7-987C-ECA8F9302E3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01923" y="6593624"/>
            <a:ext cx="3188155" cy="137160"/>
          </a:xfrm>
          <a:prstGeom prst="rect">
            <a:avLst/>
          </a:prstGeom>
        </p:spPr>
        <p:txBody>
          <a:bodyPr lIns="0" rIns="0" anchor="ctr"/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4FF3B262-D7C8-4D5D-B3D0-98D2F3865C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86665" y="6593624"/>
            <a:ext cx="636097" cy="137160"/>
          </a:xfrm>
          <a:prstGeom prst="rect">
            <a:avLst/>
          </a:prstGeom>
        </p:spPr>
        <p:txBody>
          <a:bodyPr rIns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27258FFF-F925-446B-8502-81C93398170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3846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Clouds Gre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462CE97-285C-4460-88AE-3FF9EF433B4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4025"/>
            <a:ext cx="12192000" cy="6849949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3459DE8B-12B3-4FD7-8DB0-EBF88350A1B9}"/>
              </a:ext>
            </a:extLst>
          </p:cNvPr>
          <p:cNvSpPr/>
          <p:nvPr userDrawn="1"/>
        </p:nvSpPr>
        <p:spPr bwMode="auto">
          <a:xfrm>
            <a:off x="-68826" y="1295399"/>
            <a:ext cx="12260826" cy="6883121"/>
          </a:xfrm>
          <a:prstGeom prst="rect">
            <a:avLst/>
          </a:prstGeom>
          <a:solidFill>
            <a:schemeClr val="bg1">
              <a:alpha val="51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 Semilight" panose="020B0402040204020203" pitchFamily="34" charset="0"/>
            </a:endParaRP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79A03999-9791-4007-B899-FDC58FEE660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01923" y="6593624"/>
            <a:ext cx="3188155" cy="137160"/>
          </a:xfrm>
          <a:prstGeom prst="rect">
            <a:avLst/>
          </a:prstGeom>
        </p:spPr>
        <p:txBody>
          <a:bodyPr lIns="0" rIns="0" anchor="ctr"/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0880278C-4BF9-4A84-A5AD-B074DCEE1F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86665" y="6593624"/>
            <a:ext cx="636097" cy="137160"/>
          </a:xfrm>
          <a:prstGeom prst="rect">
            <a:avLst/>
          </a:prstGeom>
        </p:spPr>
        <p:txBody>
          <a:bodyPr rIns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27258FFF-F925-446B-8502-81C93398170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2484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 Accent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50326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 Accent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20531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Placehold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solidFill>
                  <a:srgbClr val="FFFF99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1383920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53.xml"/><Relationship Id="rId26" Type="http://schemas.openxmlformats.org/officeDocument/2006/relationships/slideLayout" Target="../slideLayouts/slideLayout61.xml"/><Relationship Id="rId3" Type="http://schemas.openxmlformats.org/officeDocument/2006/relationships/slideLayout" Target="../slideLayouts/slideLayout38.xml"/><Relationship Id="rId21" Type="http://schemas.openxmlformats.org/officeDocument/2006/relationships/slideLayout" Target="../slideLayouts/slideLayout56.xml"/><Relationship Id="rId34" Type="http://schemas.openxmlformats.org/officeDocument/2006/relationships/slideLayout" Target="../slideLayouts/slideLayout69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5" Type="http://schemas.openxmlformats.org/officeDocument/2006/relationships/slideLayout" Target="../slideLayouts/slideLayout60.xml"/><Relationship Id="rId33" Type="http://schemas.openxmlformats.org/officeDocument/2006/relationships/slideLayout" Target="../slideLayouts/slideLayout68.xml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slideLayout" Target="../slideLayouts/slideLayout55.xml"/><Relationship Id="rId29" Type="http://schemas.openxmlformats.org/officeDocument/2006/relationships/slideLayout" Target="../slideLayouts/slideLayout64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24" Type="http://schemas.openxmlformats.org/officeDocument/2006/relationships/slideLayout" Target="../slideLayouts/slideLayout59.xml"/><Relationship Id="rId32" Type="http://schemas.openxmlformats.org/officeDocument/2006/relationships/slideLayout" Target="../slideLayouts/slideLayout67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23" Type="http://schemas.openxmlformats.org/officeDocument/2006/relationships/slideLayout" Target="../slideLayouts/slideLayout58.xml"/><Relationship Id="rId28" Type="http://schemas.openxmlformats.org/officeDocument/2006/relationships/slideLayout" Target="../slideLayouts/slideLayout6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45.xml"/><Relationship Id="rId19" Type="http://schemas.openxmlformats.org/officeDocument/2006/relationships/slideLayout" Target="../slideLayouts/slideLayout54.xml"/><Relationship Id="rId31" Type="http://schemas.openxmlformats.org/officeDocument/2006/relationships/slideLayout" Target="../slideLayouts/slideLayout66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slideLayout" Target="../slideLayouts/slideLayout57.xml"/><Relationship Id="rId27" Type="http://schemas.openxmlformats.org/officeDocument/2006/relationships/slideLayout" Target="../slideLayouts/slideLayout62.xml"/><Relationship Id="rId30" Type="http://schemas.openxmlformats.org/officeDocument/2006/relationships/slideLayout" Target="../slideLayouts/slideLayout65.xml"/><Relationship Id="rId35" Type="http://schemas.openxmlformats.org/officeDocument/2006/relationships/slideLayout" Target="../slideLayouts/slideLayout7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slideLayout" Target="../slideLayouts/slideLayout83.xml"/><Relationship Id="rId18" Type="http://schemas.openxmlformats.org/officeDocument/2006/relationships/slideLayout" Target="../slideLayouts/slideLayout88.xml"/><Relationship Id="rId26" Type="http://schemas.openxmlformats.org/officeDocument/2006/relationships/slideLayout" Target="../slideLayouts/slideLayout96.xml"/><Relationship Id="rId3" Type="http://schemas.openxmlformats.org/officeDocument/2006/relationships/slideLayout" Target="../slideLayouts/slideLayout73.xml"/><Relationship Id="rId21" Type="http://schemas.openxmlformats.org/officeDocument/2006/relationships/slideLayout" Target="../slideLayouts/slideLayout91.xml"/><Relationship Id="rId34" Type="http://schemas.openxmlformats.org/officeDocument/2006/relationships/vmlDrawing" Target="../drawings/vmlDrawing1.vml"/><Relationship Id="rId7" Type="http://schemas.openxmlformats.org/officeDocument/2006/relationships/slideLayout" Target="../slideLayouts/slideLayout77.xml"/><Relationship Id="rId12" Type="http://schemas.openxmlformats.org/officeDocument/2006/relationships/slideLayout" Target="../slideLayouts/slideLayout82.xml"/><Relationship Id="rId17" Type="http://schemas.openxmlformats.org/officeDocument/2006/relationships/slideLayout" Target="../slideLayouts/slideLayout87.xml"/><Relationship Id="rId25" Type="http://schemas.openxmlformats.org/officeDocument/2006/relationships/slideLayout" Target="../slideLayouts/slideLayout95.xml"/><Relationship Id="rId33" Type="http://schemas.openxmlformats.org/officeDocument/2006/relationships/theme" Target="../theme/theme3.xml"/><Relationship Id="rId38" Type="http://schemas.openxmlformats.org/officeDocument/2006/relationships/image" Target="../media/image29.emf"/><Relationship Id="rId2" Type="http://schemas.openxmlformats.org/officeDocument/2006/relationships/slideLayout" Target="../slideLayouts/slideLayout72.xml"/><Relationship Id="rId16" Type="http://schemas.openxmlformats.org/officeDocument/2006/relationships/slideLayout" Target="../slideLayouts/slideLayout86.xml"/><Relationship Id="rId20" Type="http://schemas.openxmlformats.org/officeDocument/2006/relationships/slideLayout" Target="../slideLayouts/slideLayout90.xml"/><Relationship Id="rId29" Type="http://schemas.openxmlformats.org/officeDocument/2006/relationships/slideLayout" Target="../slideLayouts/slideLayout99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24" Type="http://schemas.openxmlformats.org/officeDocument/2006/relationships/slideLayout" Target="../slideLayouts/slideLayout94.xml"/><Relationship Id="rId32" Type="http://schemas.openxmlformats.org/officeDocument/2006/relationships/slideLayout" Target="../slideLayouts/slideLayout102.xml"/><Relationship Id="rId37" Type="http://schemas.openxmlformats.org/officeDocument/2006/relationships/image" Target="../media/image28.emf"/><Relationship Id="rId5" Type="http://schemas.openxmlformats.org/officeDocument/2006/relationships/slideLayout" Target="../slideLayouts/slideLayout75.xml"/><Relationship Id="rId15" Type="http://schemas.openxmlformats.org/officeDocument/2006/relationships/slideLayout" Target="../slideLayouts/slideLayout85.xml"/><Relationship Id="rId23" Type="http://schemas.openxmlformats.org/officeDocument/2006/relationships/slideLayout" Target="../slideLayouts/slideLayout93.xml"/><Relationship Id="rId28" Type="http://schemas.openxmlformats.org/officeDocument/2006/relationships/slideLayout" Target="../slideLayouts/slideLayout9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80.xml"/><Relationship Id="rId19" Type="http://schemas.openxmlformats.org/officeDocument/2006/relationships/slideLayout" Target="../slideLayouts/slideLayout89.xml"/><Relationship Id="rId31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slideLayout" Target="../slideLayouts/slideLayout84.xml"/><Relationship Id="rId22" Type="http://schemas.openxmlformats.org/officeDocument/2006/relationships/slideLayout" Target="../slideLayouts/slideLayout92.xml"/><Relationship Id="rId27" Type="http://schemas.openxmlformats.org/officeDocument/2006/relationships/slideLayout" Target="../slideLayouts/slideLayout97.xml"/><Relationship Id="rId30" Type="http://schemas.openxmlformats.org/officeDocument/2006/relationships/slideLayout" Target="../slideLayouts/slideLayout100.xml"/><Relationship Id="rId35" Type="http://schemas.openxmlformats.org/officeDocument/2006/relationships/tags" Target="../tags/tag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13" Type="http://schemas.openxmlformats.org/officeDocument/2006/relationships/slideLayout" Target="../slideLayouts/slideLayout115.xml"/><Relationship Id="rId18" Type="http://schemas.openxmlformats.org/officeDocument/2006/relationships/slideLayout" Target="../slideLayouts/slideLayout120.xml"/><Relationship Id="rId3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109.xml"/><Relationship Id="rId12" Type="http://schemas.openxmlformats.org/officeDocument/2006/relationships/slideLayout" Target="../slideLayouts/slideLayout114.xml"/><Relationship Id="rId17" Type="http://schemas.openxmlformats.org/officeDocument/2006/relationships/slideLayout" Target="../slideLayouts/slideLayout119.xml"/><Relationship Id="rId2" Type="http://schemas.openxmlformats.org/officeDocument/2006/relationships/slideLayout" Target="../slideLayouts/slideLayout104.xml"/><Relationship Id="rId16" Type="http://schemas.openxmlformats.org/officeDocument/2006/relationships/slideLayout" Target="../slideLayouts/slideLayout118.xml"/><Relationship Id="rId20" Type="http://schemas.openxmlformats.org/officeDocument/2006/relationships/image" Target="../media/image29.emf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113.xml"/><Relationship Id="rId5" Type="http://schemas.openxmlformats.org/officeDocument/2006/relationships/slideLayout" Target="../slideLayouts/slideLayout107.xml"/><Relationship Id="rId15" Type="http://schemas.openxmlformats.org/officeDocument/2006/relationships/slideLayout" Target="../slideLayouts/slideLayout117.xml"/><Relationship Id="rId10" Type="http://schemas.openxmlformats.org/officeDocument/2006/relationships/slideLayout" Target="../slideLayouts/slideLayout112.xml"/><Relationship Id="rId19" Type="http://schemas.openxmlformats.org/officeDocument/2006/relationships/theme" Target="../theme/theme4.xml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Relationship Id="rId14" Type="http://schemas.openxmlformats.org/officeDocument/2006/relationships/slideLayout" Target="../slideLayouts/slideLayout1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8427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94" r:id="rId1"/>
    <p:sldLayoutId id="2147484695" r:id="rId2"/>
    <p:sldLayoutId id="2147484696" r:id="rId3"/>
    <p:sldLayoutId id="2147484697" r:id="rId4"/>
    <p:sldLayoutId id="2147484698" r:id="rId5"/>
    <p:sldLayoutId id="2147484699" r:id="rId6"/>
    <p:sldLayoutId id="2147484700" r:id="rId7"/>
    <p:sldLayoutId id="2147484701" r:id="rId8"/>
    <p:sldLayoutId id="2147484702" r:id="rId9"/>
    <p:sldLayoutId id="2147484703" r:id="rId10"/>
    <p:sldLayoutId id="2147484704" r:id="rId11"/>
    <p:sldLayoutId id="2147484705" r:id="rId12"/>
    <p:sldLayoutId id="2147484706" r:id="rId13"/>
    <p:sldLayoutId id="2147484707" r:id="rId14"/>
    <p:sldLayoutId id="2147484708" r:id="rId15"/>
    <p:sldLayoutId id="2147484709" r:id="rId16"/>
    <p:sldLayoutId id="2147484710" r:id="rId17"/>
    <p:sldLayoutId id="2147484711" r:id="rId18"/>
    <p:sldLayoutId id="2147484712" r:id="rId19"/>
    <p:sldLayoutId id="2147484240" r:id="rId20"/>
    <p:sldLayoutId id="2147484241" r:id="rId21"/>
    <p:sldLayoutId id="2147484474" r:id="rId22"/>
    <p:sldLayoutId id="2147484245" r:id="rId23"/>
    <p:sldLayoutId id="2147484247" r:id="rId24"/>
    <p:sldLayoutId id="2147484603" r:id="rId25"/>
    <p:sldLayoutId id="2147484645" r:id="rId26"/>
    <p:sldLayoutId id="2147484646" r:id="rId27"/>
    <p:sldLayoutId id="2147484647" r:id="rId28"/>
    <p:sldLayoutId id="2147484683" r:id="rId29"/>
    <p:sldLayoutId id="2147484685" r:id="rId30"/>
    <p:sldLayoutId id="2147484687" r:id="rId31"/>
    <p:sldLayoutId id="2147484256" r:id="rId32"/>
    <p:sldLayoutId id="2147484585" r:id="rId33"/>
    <p:sldLayoutId id="2147484692" r:id="rId34"/>
    <p:sldLayoutId id="2147484263" r:id="rId35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6" pos="368" userDrawn="1">
          <p15:clr>
            <a:srgbClr val="C35EA4"/>
          </p15:clr>
        </p15:guide>
        <p15:guide id="17" pos="7313" userDrawn="1">
          <p15:clr>
            <a:srgbClr val="C35EA4"/>
          </p15:clr>
        </p15:guide>
        <p15:guide id="25" orient="horz" pos="369" userDrawn="1">
          <p15:clr>
            <a:srgbClr val="C35EA4"/>
          </p15:clr>
        </p15:guide>
        <p15:guide id="26" orient="horz" pos="3949" userDrawn="1">
          <p15:clr>
            <a:srgbClr val="C35EA4"/>
          </p15:clr>
        </p15:guide>
        <p15:guide id="27" orient="horz" pos="184" userDrawn="1">
          <p15:clr>
            <a:srgbClr val="A4A3A4"/>
          </p15:clr>
        </p15:guide>
        <p15:guide id="28" pos="185" userDrawn="1">
          <p15:clr>
            <a:srgbClr val="A4A3A4"/>
          </p15:clr>
        </p15:guide>
        <p15:guide id="29" orient="horz" pos="4135" userDrawn="1">
          <p15:clr>
            <a:srgbClr val="A4A3A4"/>
          </p15:clr>
        </p15:guide>
        <p15:guide id="30" pos="7495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237372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664" r:id="rId1"/>
    <p:sldLayoutId id="2147484580" r:id="rId2"/>
    <p:sldLayoutId id="2147484648" r:id="rId3"/>
    <p:sldLayoutId id="2147484649" r:id="rId4"/>
    <p:sldLayoutId id="2147484650" r:id="rId5"/>
    <p:sldLayoutId id="2147484651" r:id="rId6"/>
    <p:sldLayoutId id="2147484652" r:id="rId7"/>
    <p:sldLayoutId id="2147484653" r:id="rId8"/>
    <p:sldLayoutId id="2147484654" r:id="rId9"/>
    <p:sldLayoutId id="2147484655" r:id="rId10"/>
    <p:sldLayoutId id="2147484656" r:id="rId11"/>
    <p:sldLayoutId id="2147484657" r:id="rId12"/>
    <p:sldLayoutId id="2147484658" r:id="rId13"/>
    <p:sldLayoutId id="2147484659" r:id="rId14"/>
    <p:sldLayoutId id="2147484660" r:id="rId15"/>
    <p:sldLayoutId id="2147484661" r:id="rId16"/>
    <p:sldLayoutId id="2147484662" r:id="rId17"/>
    <p:sldLayoutId id="2147484663" r:id="rId18"/>
    <p:sldLayoutId id="2147484577" r:id="rId19"/>
    <p:sldLayoutId id="2147484673" r:id="rId20"/>
    <p:sldLayoutId id="2147484674" r:id="rId21"/>
    <p:sldLayoutId id="2147484675" r:id="rId22"/>
    <p:sldLayoutId id="2147484676" r:id="rId23"/>
    <p:sldLayoutId id="2147484677" r:id="rId24"/>
    <p:sldLayoutId id="2147484679" r:id="rId25"/>
    <p:sldLayoutId id="2147484680" r:id="rId26"/>
    <p:sldLayoutId id="2147484681" r:id="rId27"/>
    <p:sldLayoutId id="2147484682" r:id="rId28"/>
    <p:sldLayoutId id="2147484249" r:id="rId29"/>
    <p:sldLayoutId id="2147484582" r:id="rId30"/>
    <p:sldLayoutId id="2147484584" r:id="rId31"/>
    <p:sldLayoutId id="2147484689" r:id="rId32"/>
    <p:sldLayoutId id="2147484691" r:id="rId33"/>
    <p:sldLayoutId id="2147484299" r:id="rId34"/>
    <p:sldLayoutId id="2147484693" r:id="rId35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2052541-C478-413F-B49C-4151EC7040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36" imgW="425" imgH="424" progId="TCLayout.ActiveDocument.1">
                  <p:embed/>
                </p:oleObj>
              </mc:Choice>
              <mc:Fallback>
                <p:oleObj name="think-cell Slide" r:id="rId36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2052541-C478-413F-B49C-4151EC7040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1892826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B63BDF07-A75A-407A-980B-B431EE0AE5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01923" y="6593624"/>
            <a:ext cx="3188155" cy="137160"/>
          </a:xfrm>
          <a:prstGeom prst="rect">
            <a:avLst/>
          </a:prstGeom>
        </p:spPr>
        <p:txBody>
          <a:bodyPr lIns="0" rIns="0" anchor="ctr"/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EA3ECE1F-5BF7-4523-8515-168FD30B31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86665" y="6593624"/>
            <a:ext cx="636097" cy="137160"/>
          </a:xfrm>
          <a:prstGeom prst="rect">
            <a:avLst/>
          </a:prstGeom>
        </p:spPr>
        <p:txBody>
          <a:bodyPr rIns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27258FFF-F925-446B-8502-81C93398170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52257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15" r:id="rId1"/>
    <p:sldLayoutId id="2147484716" r:id="rId2"/>
    <p:sldLayoutId id="2147484717" r:id="rId3"/>
    <p:sldLayoutId id="2147484718" r:id="rId4"/>
    <p:sldLayoutId id="2147484719" r:id="rId5"/>
    <p:sldLayoutId id="2147484720" r:id="rId6"/>
    <p:sldLayoutId id="2147484721" r:id="rId7"/>
    <p:sldLayoutId id="2147484722" r:id="rId8"/>
    <p:sldLayoutId id="2147484723" r:id="rId9"/>
    <p:sldLayoutId id="2147484724" r:id="rId10"/>
    <p:sldLayoutId id="2147484725" r:id="rId11"/>
    <p:sldLayoutId id="2147484726" r:id="rId12"/>
    <p:sldLayoutId id="2147484727" r:id="rId13"/>
    <p:sldLayoutId id="2147484728" r:id="rId14"/>
    <p:sldLayoutId id="2147484729" r:id="rId15"/>
    <p:sldLayoutId id="2147484730" r:id="rId16"/>
    <p:sldLayoutId id="2147484731" r:id="rId17"/>
    <p:sldLayoutId id="2147484732" r:id="rId18"/>
    <p:sldLayoutId id="2147484733" r:id="rId19"/>
    <p:sldLayoutId id="2147484734" r:id="rId20"/>
    <p:sldLayoutId id="2147484735" r:id="rId21"/>
    <p:sldLayoutId id="2147484736" r:id="rId22"/>
    <p:sldLayoutId id="2147484737" r:id="rId23"/>
    <p:sldLayoutId id="2147484738" r:id="rId24"/>
    <p:sldLayoutId id="2147484739" r:id="rId25"/>
    <p:sldLayoutId id="2147484740" r:id="rId26"/>
    <p:sldLayoutId id="2147484741" r:id="rId27"/>
    <p:sldLayoutId id="2147484742" r:id="rId28"/>
    <p:sldLayoutId id="2147484743" r:id="rId29"/>
    <p:sldLayoutId id="2147484744" r:id="rId30"/>
    <p:sldLayoutId id="2147484745" r:id="rId31"/>
    <p:sldLayoutId id="2147484766" r:id="rId32"/>
  </p:sldLayoutIdLst>
  <p:transition>
    <p:fade/>
  </p:transition>
  <p:hf hd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000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 Semilight" panose="020B0402040204020203" pitchFamily="34" charset="0"/>
        </a:defRPr>
      </a:lvl1pPr>
    </p:titleStyle>
    <p:bodyStyle>
      <a:lvl1pPr marL="224097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solidFill>
            <a:schemeClr val="tx1"/>
          </a:solidFill>
          <a:latin typeface="+mj-lt"/>
          <a:ea typeface="+mn-ea"/>
          <a:cs typeface="+mn-cs"/>
        </a:defRPr>
      </a:lvl1pPr>
      <a:lvl2pPr marL="44819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672290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8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896386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8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112048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8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536">
          <p15:clr>
            <a:srgbClr val="5ACBF0"/>
          </p15:clr>
        </p15:guide>
        <p15:guide id="16" pos="288">
          <p15:clr>
            <a:srgbClr val="C35EA4"/>
          </p15:clr>
        </p15:guide>
        <p15:guide id="17" pos="7392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32965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93215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47" r:id="rId1"/>
    <p:sldLayoutId id="2147484748" r:id="rId2"/>
    <p:sldLayoutId id="2147484749" r:id="rId3"/>
    <p:sldLayoutId id="2147484750" r:id="rId4"/>
    <p:sldLayoutId id="2147484751" r:id="rId5"/>
    <p:sldLayoutId id="2147484752" r:id="rId6"/>
    <p:sldLayoutId id="2147484753" r:id="rId7"/>
    <p:sldLayoutId id="2147484754" r:id="rId8"/>
    <p:sldLayoutId id="2147484755" r:id="rId9"/>
    <p:sldLayoutId id="2147484756" r:id="rId10"/>
    <p:sldLayoutId id="2147484757" r:id="rId11"/>
    <p:sldLayoutId id="2147484758" r:id="rId12"/>
    <p:sldLayoutId id="2147484759" r:id="rId13"/>
    <p:sldLayoutId id="2147484760" r:id="rId14"/>
    <p:sldLayoutId id="2147484761" r:id="rId15"/>
    <p:sldLayoutId id="2147484762" r:id="rId16"/>
    <p:sldLayoutId id="2147484763" r:id="rId17"/>
    <p:sldLayoutId id="2147484765" r:id="rId18"/>
  </p:sldLayoutIdLst>
  <mc:AlternateContent xmlns:mc="http://schemas.openxmlformats.org/markup-compatibility/2006" xmlns:p14="http://schemas.microsoft.com/office/powerpoint/2010/main">
    <mc:Choice Requires="p14">
      <p:transition spd="slow" p14:dur="1250">
        <p:fade/>
      </p:transition>
    </mc:Choice>
    <mc:Fallback xmlns="">
      <p:transition spd="slow">
        <p:fade/>
      </p:transition>
    </mc:Fallback>
  </mc:AlternateContent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4097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19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2290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96386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2048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1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s://devblogs.microsoft.com/dotnet/the-net-language-strategy/" TargetMode="External"/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 bwMode="black">
          <a:xfrm>
            <a:off x="584200" y="2979778"/>
            <a:ext cx="7589520" cy="553998"/>
          </a:xfrm>
        </p:spPr>
        <p:txBody>
          <a:bodyPr/>
          <a:lstStyle/>
          <a:p>
            <a:r>
              <a:rPr lang="en-US" dirty="0"/>
              <a:t>C# 8.0 Deep Dish with a Slice of C# 7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 bwMode="black">
          <a:xfrm>
            <a:off x="584200" y="3962400"/>
            <a:ext cx="7589520" cy="1538883"/>
          </a:xfrm>
        </p:spPr>
        <p:txBody>
          <a:bodyPr/>
          <a:lstStyle/>
          <a:p>
            <a:r>
              <a:rPr lang="en-US" dirty="0"/>
              <a:t>Steve Michelotti</a:t>
            </a:r>
          </a:p>
          <a:p>
            <a:r>
              <a:rPr lang="en-US" dirty="0"/>
              <a:t>Principal Program Manager</a:t>
            </a:r>
          </a:p>
          <a:p>
            <a:r>
              <a:rPr lang="en-US" dirty="0"/>
              <a:t>Azure Government Engineering</a:t>
            </a:r>
          </a:p>
          <a:p>
            <a:r>
              <a:rPr lang="en-US" dirty="0"/>
              <a:t>@</a:t>
            </a:r>
            <a:r>
              <a:rPr lang="en-US" dirty="0" err="1"/>
              <a:t>smichelotti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6108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CE06C-28EB-414A-A1BD-991F1160E6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We Covered</a:t>
            </a: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07D75F49-E5D4-4839-9E1C-CB4402AB36D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56193889"/>
              </p:ext>
            </p:extLst>
          </p:nvPr>
        </p:nvGraphicFramePr>
        <p:xfrm>
          <a:off x="1652815" y="1435497"/>
          <a:ext cx="8886371" cy="45674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49870847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CAA9805-66D3-4357-BFAC-E8E875DD9A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estions?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9B3D545-D0B7-4C40-985F-E67026DE16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4200" y="3962400"/>
            <a:ext cx="7589520" cy="1231106"/>
          </a:xfrm>
        </p:spPr>
        <p:txBody>
          <a:bodyPr/>
          <a:lstStyle/>
          <a:p>
            <a:r>
              <a:rPr lang="en-US" dirty="0"/>
              <a:t>Steve Michelotti</a:t>
            </a:r>
          </a:p>
          <a:p>
            <a:r>
              <a:rPr lang="en-US" dirty="0"/>
              <a:t>@</a:t>
            </a:r>
            <a:r>
              <a:rPr lang="en-US" dirty="0" err="1"/>
              <a:t>smichelotti</a:t>
            </a:r>
            <a:endParaRPr lang="en-US" dirty="0"/>
          </a:p>
          <a:p>
            <a:r>
              <a:rPr lang="en-US" dirty="0"/>
              <a:t>https://stevemichelotti.com</a:t>
            </a:r>
          </a:p>
          <a:p>
            <a:r>
              <a:rPr lang="en-US" dirty="0"/>
              <a:t>steve.michelotti@microsoft.com</a:t>
            </a:r>
          </a:p>
        </p:txBody>
      </p:sp>
    </p:spTree>
    <p:extLst>
      <p:ext uri="{BB962C8B-B14F-4D97-AF65-F5344CB8AC3E}">
        <p14:creationId xmlns:p14="http://schemas.microsoft.com/office/powerpoint/2010/main" val="3779356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2417EE1-47EB-4EF9-8431-49162CAD61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# History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CA80E526-E3E2-4A3C-82DD-44A0BF64750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4829337"/>
              </p:ext>
            </p:extLst>
          </p:nvPr>
        </p:nvGraphicFramePr>
        <p:xfrm>
          <a:off x="3791339" y="1447454"/>
          <a:ext cx="4609322" cy="4450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08832">
                  <a:extLst>
                    <a:ext uri="{9D8B030D-6E8A-4147-A177-3AD203B41FA5}">
                      <a16:colId xmlns:a16="http://schemas.microsoft.com/office/drawing/2014/main" val="1382462328"/>
                    </a:ext>
                  </a:extLst>
                </a:gridCol>
                <a:gridCol w="2500490">
                  <a:extLst>
                    <a:ext uri="{9D8B030D-6E8A-4147-A177-3AD203B41FA5}">
                      <a16:colId xmlns:a16="http://schemas.microsoft.com/office/drawing/2014/main" val="124937394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Framewor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C# Languag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2398073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.0, 1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C# 1 (2002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0886915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.0, 3.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C# 2 (2005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71853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C# 3 (2007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524066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.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C# 4 (2010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019677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C# 5 (2012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477013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C# 6 (2015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22808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.7, Core 2.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C# 7 (2017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5257693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.7, Core 2.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C# 7.1 (2017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39538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.7, Core 2.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C# 7.2 (2017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262215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.7, Core 2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C# 7.3 (2018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00910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Core 3.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C# 8.0 (2019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2734059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53424525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5555B7-7F6C-44E9-92EE-FFE1147B87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C# Language Strateg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D6E8B1-FD3F-4139-9BED-BF15B85BE69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1465016"/>
          </a:xfrm>
        </p:spPr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US" dirty="0"/>
              <a:t>Evolve and innovate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Benefit all C# developers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Community and stewardship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A437DAD-4352-4FB5-ADB7-0B684DD1137E}"/>
              </a:ext>
            </a:extLst>
          </p:cNvPr>
          <p:cNvSpPr txBox="1"/>
          <p:nvPr/>
        </p:nvSpPr>
        <p:spPr>
          <a:xfrm>
            <a:off x="4314825" y="6093023"/>
            <a:ext cx="787717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000" dirty="0">
                <a:hlinkClick r:id="rId2"/>
              </a:rPr>
              <a:t>https://devblogs.microsoft.com/dotnet/the-net-language-strategy/</a:t>
            </a:r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868651848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CE06C-28EB-414A-A1BD-991F1160E6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07D75F49-E5D4-4839-9E1C-CB4402AB36D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902099"/>
              </p:ext>
            </p:extLst>
          </p:nvPr>
        </p:nvGraphicFramePr>
        <p:xfrm>
          <a:off x="1652815" y="1435497"/>
          <a:ext cx="8886371" cy="45674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744473628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195AAB1-BDDA-4840-BE7D-244B49F334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216" y="2534625"/>
            <a:ext cx="9144000" cy="997196"/>
          </a:xfrm>
        </p:spPr>
        <p:txBody>
          <a:bodyPr/>
          <a:lstStyle/>
          <a:p>
            <a:r>
              <a:rPr lang="en-US" sz="7200" dirty="0">
                <a:solidFill>
                  <a:schemeClr val="bg1"/>
                </a:solidFill>
              </a:rPr>
              <a:t>Dem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45558B1-26E6-4A4C-81A7-0ABE2A1643A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5996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0E2BB50-7D87-4E4B-990D-DB3D1B6523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# 8.0 – Disposable ref struc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8B06DB6-6E36-4F4D-A2E7-47A9F8446E4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5269135"/>
          </a:xfrm>
        </p:spPr>
        <p:txBody>
          <a:bodyPr/>
          <a:lstStyle/>
          <a:p>
            <a:r>
              <a:rPr lang="en-US" sz="1600" dirty="0"/>
              <a:t>public unsafe ref struct </a:t>
            </a:r>
            <a:r>
              <a:rPr lang="en-US" sz="1600" dirty="0" err="1"/>
              <a:t>UnmanagedArray</a:t>
            </a:r>
            <a:r>
              <a:rPr lang="en-US" sz="1600" dirty="0"/>
              <a:t>&lt;T&gt; where T : unmanaged</a:t>
            </a:r>
          </a:p>
          <a:p>
            <a:r>
              <a:rPr lang="en-US" sz="1600" dirty="0"/>
              <a:t>{</a:t>
            </a:r>
          </a:p>
          <a:p>
            <a:r>
              <a:rPr lang="en-US" sz="1600" dirty="0"/>
              <a:t>   private T* data;</a:t>
            </a:r>
          </a:p>
          <a:p>
            <a:r>
              <a:rPr lang="en-US" sz="1600" dirty="0"/>
              <a:t>     public </a:t>
            </a:r>
            <a:r>
              <a:rPr lang="en-US" sz="1600" dirty="0" err="1"/>
              <a:t>UnmanagedArray</a:t>
            </a:r>
            <a:r>
              <a:rPr lang="en-US" sz="1600" dirty="0"/>
              <a:t>(int length)</a:t>
            </a:r>
          </a:p>
          <a:p>
            <a:r>
              <a:rPr lang="en-US" sz="1600" dirty="0"/>
              <a:t>   {</a:t>
            </a:r>
          </a:p>
          <a:p>
            <a:r>
              <a:rPr lang="en-US" sz="1600" dirty="0"/>
              <a:t>      data = // get memory from some pool</a:t>
            </a:r>
          </a:p>
          <a:p>
            <a:r>
              <a:rPr lang="en-US" sz="1600" dirty="0"/>
              <a:t>   }</a:t>
            </a:r>
          </a:p>
          <a:p>
            <a:endParaRPr lang="en-US" sz="1600" dirty="0"/>
          </a:p>
          <a:p>
            <a:r>
              <a:rPr lang="en-US" sz="1600" dirty="0"/>
              <a:t>   public ref T this[int index]</a:t>
            </a:r>
          </a:p>
          <a:p>
            <a:r>
              <a:rPr lang="en-US" sz="1600" dirty="0"/>
              <a:t>   {</a:t>
            </a:r>
          </a:p>
          <a:p>
            <a:r>
              <a:rPr lang="en-US" sz="1600" dirty="0"/>
              <a:t>      get { return ref data[index]; }</a:t>
            </a:r>
          </a:p>
          <a:p>
            <a:r>
              <a:rPr lang="en-US" sz="1600" dirty="0"/>
              <a:t>   }</a:t>
            </a:r>
          </a:p>
          <a:p>
            <a:endParaRPr lang="en-US" sz="1600" dirty="0"/>
          </a:p>
          <a:p>
            <a:r>
              <a:rPr lang="en-US" sz="1600" dirty="0"/>
              <a:t>   public void Dispose()</a:t>
            </a:r>
          </a:p>
          <a:p>
            <a:r>
              <a:rPr lang="en-US" sz="1600" dirty="0"/>
              <a:t>   {</a:t>
            </a:r>
          </a:p>
          <a:p>
            <a:r>
              <a:rPr lang="en-US" sz="1600" dirty="0"/>
              <a:t>      // return memory to the pool</a:t>
            </a:r>
          </a:p>
          <a:p>
            <a:r>
              <a:rPr lang="en-US" sz="1600" dirty="0"/>
              <a:t>   }</a:t>
            </a:r>
          </a:p>
          <a:p>
            <a:r>
              <a:rPr lang="en-US" sz="1600" dirty="0"/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3245392127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0E2BB50-7D87-4E4B-990D-DB3D1B6523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# 7.1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8B06DB6-6E36-4F4D-A2E7-47A9F8446E4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3016210"/>
          </a:xfrm>
        </p:spPr>
        <p:txBody>
          <a:bodyPr/>
          <a:lstStyle/>
          <a:p>
            <a:r>
              <a:rPr lang="en-US" u="sng" dirty="0"/>
              <a:t>Theme</a:t>
            </a:r>
            <a:r>
              <a:rPr lang="en-US" dirty="0"/>
              <a:t>: Introduce point release for increased release cadence.</a:t>
            </a:r>
          </a:p>
          <a:p>
            <a:endParaRPr lang="en-US" dirty="0"/>
          </a:p>
          <a:p>
            <a:r>
              <a:rPr lang="en-US" dirty="0"/>
              <a:t>Async main</a:t>
            </a:r>
          </a:p>
          <a:p>
            <a:r>
              <a:rPr lang="en-US" dirty="0"/>
              <a:t>Default literal expressions</a:t>
            </a:r>
          </a:p>
          <a:p>
            <a:r>
              <a:rPr lang="en-US" dirty="0"/>
              <a:t>Inferred tuple element names</a:t>
            </a:r>
          </a:p>
          <a:p>
            <a:r>
              <a:rPr lang="en-US" dirty="0"/>
              <a:t>Pattern matching on generated type parameters</a:t>
            </a:r>
          </a:p>
        </p:txBody>
      </p:sp>
    </p:spTree>
    <p:extLst>
      <p:ext uri="{BB962C8B-B14F-4D97-AF65-F5344CB8AC3E}">
        <p14:creationId xmlns:p14="http://schemas.microsoft.com/office/powerpoint/2010/main" val="14975765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8419DD-EEC9-42C0-9747-C38CE6C18A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# 7.2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66384C-F8AE-4523-9989-83E0A4CEBB5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3533275"/>
          </a:xfrm>
        </p:spPr>
        <p:txBody>
          <a:bodyPr/>
          <a:lstStyle/>
          <a:p>
            <a:r>
              <a:rPr lang="en-US" u="sng" dirty="0"/>
              <a:t>Theme</a:t>
            </a:r>
            <a:r>
              <a:rPr lang="en-US" dirty="0"/>
              <a:t>: Work more efficiently with value types. Then, nice-to-haves.</a:t>
            </a:r>
          </a:p>
          <a:p>
            <a:endParaRPr lang="en-US" dirty="0"/>
          </a:p>
          <a:p>
            <a:r>
              <a:rPr lang="en-US" dirty="0"/>
              <a:t>Safe efficient code enhancements</a:t>
            </a:r>
          </a:p>
          <a:p>
            <a:r>
              <a:rPr lang="en-US" dirty="0"/>
              <a:t>Non-trailing named arguments</a:t>
            </a:r>
          </a:p>
          <a:p>
            <a:r>
              <a:rPr lang="en-US" dirty="0"/>
              <a:t>Leading underscores in numeric literals</a:t>
            </a:r>
          </a:p>
          <a:p>
            <a:r>
              <a:rPr lang="en-US" dirty="0"/>
              <a:t>private protect access modifier</a:t>
            </a:r>
          </a:p>
          <a:p>
            <a:r>
              <a:rPr lang="en-US" dirty="0"/>
              <a:t>Conditional ref expressions</a:t>
            </a:r>
          </a:p>
        </p:txBody>
      </p:sp>
    </p:spTree>
    <p:extLst>
      <p:ext uri="{BB962C8B-B14F-4D97-AF65-F5344CB8AC3E}">
        <p14:creationId xmlns:p14="http://schemas.microsoft.com/office/powerpoint/2010/main" val="2211257878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6F72C1-CA02-4C23-AA77-CBAB58B374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# 7.3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0590E67-C4BF-4B27-86A7-A570B302BC1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947952"/>
          </a:xfrm>
        </p:spPr>
        <p:txBody>
          <a:bodyPr/>
          <a:lstStyle/>
          <a:p>
            <a:r>
              <a:rPr lang="en-US" dirty="0"/>
              <a:t>Theme 1: Enabling more efficient safe code</a:t>
            </a:r>
          </a:p>
          <a:p>
            <a:r>
              <a:rPr lang="en-US" dirty="0"/>
              <a:t>Theme 2: Tweaks to existing features</a:t>
            </a:r>
          </a:p>
        </p:txBody>
      </p:sp>
    </p:spTree>
    <p:extLst>
      <p:ext uri="{BB962C8B-B14F-4D97-AF65-F5344CB8AC3E}">
        <p14:creationId xmlns:p14="http://schemas.microsoft.com/office/powerpoint/2010/main" val="3958497673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-51015_Microsoft_Ignite_Tour_Template_Light">
  <a:themeElements>
    <a:clrScheme name="Ignite Tour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0078D4"/>
      </a:accent1>
      <a:accent2>
        <a:srgbClr val="00BCF2"/>
      </a:accent2>
      <a:accent3>
        <a:srgbClr val="282828"/>
      </a:accent3>
      <a:accent4>
        <a:srgbClr val="505050"/>
      </a:accent4>
      <a:accent5>
        <a:srgbClr val="737373"/>
      </a:accent5>
      <a:accent6>
        <a:srgbClr val="D2D2D2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1600" dirty="0">
            <a:gradFill>
              <a:gsLst>
                <a:gs pos="40075">
                  <a:srgbClr val="FFFFFF"/>
                </a:gs>
                <a:gs pos="3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Ignite_Tour_Template_16x9.potx" id="{F7099766-35AE-4BB0-9DBE-A9DDEA1BBBAE}" vid="{C9116971-8069-4875-B386-0C8A57B9B5CF}"/>
    </a:ext>
  </a:extLst>
</a:theme>
</file>

<file path=ppt/theme/theme2.xml><?xml version="1.0" encoding="utf-8"?>
<a:theme xmlns:a="http://schemas.openxmlformats.org/drawingml/2006/main" name="5-51015_Microsoft_Ignite_Tour_Template_Dark">
  <a:themeElements>
    <a:clrScheme name="Ignite Tour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0078D4"/>
      </a:accent1>
      <a:accent2>
        <a:srgbClr val="00BCF2"/>
      </a:accent2>
      <a:accent3>
        <a:srgbClr val="282828"/>
      </a:accent3>
      <a:accent4>
        <a:srgbClr val="505050"/>
      </a:accent4>
      <a:accent5>
        <a:srgbClr val="737373"/>
      </a:accent5>
      <a:accent6>
        <a:srgbClr val="D2D2D2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Ignite_Tour_Template_16x9.potx" id="{F7099766-35AE-4BB0-9DBE-A9DDEA1BBBAE}" vid="{C1726122-5BD5-4A36-86F9-CB255E8EB20E}"/>
    </a:ext>
  </a:extLst>
</a:theme>
</file>

<file path=ppt/theme/theme3.xml><?xml version="1.0" encoding="utf-8"?>
<a:theme xmlns:a="http://schemas.openxmlformats.org/drawingml/2006/main" name="Digital_Transformation_Template">
  <a:themeElements>
    <a:clrScheme name="Custom 50">
      <a:dk1>
        <a:srgbClr val="353535"/>
      </a:dk1>
      <a:lt1>
        <a:srgbClr val="FFFFFF"/>
      </a:lt1>
      <a:dk2>
        <a:srgbClr val="0078D7"/>
      </a:dk2>
      <a:lt2>
        <a:srgbClr val="E6E6E6"/>
      </a:lt2>
      <a:accent1>
        <a:srgbClr val="0078D7"/>
      </a:accent1>
      <a:accent2>
        <a:srgbClr val="002050"/>
      </a:accent2>
      <a:accent3>
        <a:srgbClr val="505050"/>
      </a:accent3>
      <a:accent4>
        <a:srgbClr val="32145A"/>
      </a:accent4>
      <a:accent5>
        <a:srgbClr val="FFB900"/>
      </a:accent5>
      <a:accent6>
        <a:srgbClr val="00BCF2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86519EC1-BCF5-46FE-B33A-6656048E109F}" vid="{3AF2BEBC-107D-4DC3-A0E0-19271B739183}"/>
    </a:ext>
  </a:extLst>
</a:theme>
</file>

<file path=ppt/theme/theme4.xml><?xml version="1.0" encoding="utf-8"?>
<a:theme xmlns:a="http://schemas.openxmlformats.org/drawingml/2006/main" name="1_5-50156_Government_Cloud_Forum_2017_Template">
  <a:themeElements>
    <a:clrScheme name="Government Cloud Forum">
      <a:dk1>
        <a:srgbClr val="353535"/>
      </a:dk1>
      <a:lt1>
        <a:srgbClr val="FFFFFF"/>
      </a:lt1>
      <a:dk2>
        <a:srgbClr val="0078D7"/>
      </a:dk2>
      <a:lt2>
        <a:srgbClr val="E6E6E6"/>
      </a:lt2>
      <a:accent1>
        <a:srgbClr val="002050"/>
      </a:accent1>
      <a:accent2>
        <a:srgbClr val="0078D7"/>
      </a:accent2>
      <a:accent3>
        <a:srgbClr val="5C2D91"/>
      </a:accent3>
      <a:accent4>
        <a:srgbClr val="B4009E"/>
      </a:accent4>
      <a:accent5>
        <a:srgbClr val="737373"/>
      </a:accent5>
      <a:accent6>
        <a:srgbClr val="D2D2D2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omK Keynote Government Cloud Forum 2017" id="{98F720AD-5964-4D92-8EC0-E14D4627C34C}" vid="{DDB0C293-BB1E-4446-B0AA-B9594314ADEB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D9FAF4CD5AD2F4B99B5B2414089ABF7" ma:contentTypeVersion="12" ma:contentTypeDescription="Create a new document." ma:contentTypeScope="" ma:versionID="230db19e8b17ba2810ea93624333db7c">
  <xsd:schema xmlns:xsd="http://www.w3.org/2001/XMLSchema" xmlns:xs="http://www.w3.org/2001/XMLSchema" xmlns:p="http://schemas.microsoft.com/office/2006/metadata/properties" xmlns:ns2="dcf5ddc1-fb1d-440f-849a-6450bddbaed7" xmlns:ns3="965de625-df5b-42e9-a277-2113da4f1195" targetNamespace="http://schemas.microsoft.com/office/2006/metadata/properties" ma:root="true" ma:fieldsID="dca6bc5695fb6c44cc6989902b88d8c5" ns2:_="" ns3:_="">
    <xsd:import namespace="dcf5ddc1-fb1d-440f-849a-6450bddbaed7"/>
    <xsd:import namespace="965de625-df5b-42e9-a277-2113da4f1195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2:LastSharedByUser" minOccurs="0"/>
                <xsd:element ref="ns2:LastSharedByTime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Location" minOccurs="0"/>
                <xsd:element ref="ns3:MediaServiceEventHashCode" minOccurs="0"/>
                <xsd:element ref="ns3:MediaServiceGeneration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cf5ddc1-fb1d-440f-849a-6450bddbaed7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0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1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5de625-df5b-42e9-a277-2113da4f119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2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4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5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16" nillable="true" ma:displayName="MediaServiceOCR" ma:description="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MediaServiceLocation" ma:description="" ma:internalName="MediaServiceLocation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558B9E7-745A-43F1-A792-2166BDB2A4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cf5ddc1-fb1d-440f-849a-6450bddbaed7"/>
    <ds:schemaRef ds:uri="965de625-df5b-42e9-a277-2113da4f119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990F116-B58F-4255-B05B-DA3808E0E5C6}">
  <ds:schemaRefs>
    <ds:schemaRef ds:uri="http://schemas.microsoft.com/office/2006/metadata/properties"/>
    <ds:schemaRef ds:uri="http://purl.org/dc/elements/1.1/"/>
    <ds:schemaRef ds:uri="dcf5ddc1-fb1d-440f-849a-6450bddbaed7"/>
    <ds:schemaRef ds:uri="http://www.w3.org/XML/1998/namespace"/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965de625-df5b-42e9-a277-2113da4f1195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758FDAC0-319D-4A54-8D8E-1D42CB1F800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icrosoft_Ignite_Tour_Template_16x9</Template>
  <TotalTime>1189</TotalTime>
  <Words>460</Words>
  <Application>Microsoft Office PowerPoint</Application>
  <PresentationFormat>Widescreen</PresentationFormat>
  <Paragraphs>105</Paragraphs>
  <Slides>11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3" baseType="lpstr">
      <vt:lpstr>Arial</vt:lpstr>
      <vt:lpstr>Consolas</vt:lpstr>
      <vt:lpstr>Segoe UI</vt:lpstr>
      <vt:lpstr>Segoe UI Light</vt:lpstr>
      <vt:lpstr>Segoe UI Semibold</vt:lpstr>
      <vt:lpstr>Segoe UI Semilight</vt:lpstr>
      <vt:lpstr>Wingdings</vt:lpstr>
      <vt:lpstr>5-51015_Microsoft_Ignite_Tour_Template_Light</vt:lpstr>
      <vt:lpstr>5-51015_Microsoft_Ignite_Tour_Template_Dark</vt:lpstr>
      <vt:lpstr>Digital_Transformation_Template</vt:lpstr>
      <vt:lpstr>1_5-50156_Government_Cloud_Forum_2017_Template</vt:lpstr>
      <vt:lpstr>think-cell Slide</vt:lpstr>
      <vt:lpstr>C# 8.0 Deep Dish with a Slice of C# 7</vt:lpstr>
      <vt:lpstr>C# History</vt:lpstr>
      <vt:lpstr>The C# Language Strategy</vt:lpstr>
      <vt:lpstr>Agenda</vt:lpstr>
      <vt:lpstr>Demo</vt:lpstr>
      <vt:lpstr>C# 8.0 – Disposable ref struct</vt:lpstr>
      <vt:lpstr>C# 7.1</vt:lpstr>
      <vt:lpstr>C# 7.2</vt:lpstr>
      <vt:lpstr>C# 7.3</vt:lpstr>
      <vt:lpstr>What We Covered</vt:lpstr>
      <vt:lpstr>Questions?</vt:lpstr>
    </vt:vector>
  </TitlesOfParts>
  <Manager>&lt;Comms manager name here&gt;</Manager>
  <Company>Microsoft Corpor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Microsoft Ignite Tour</dc:subject>
  <dc:creator>Jessica Rademaker</dc:creator>
  <cp:keywords>Microsoft Ignite Tour</cp:keywords>
  <dc:description/>
  <cp:lastModifiedBy>Steve Michelotti</cp:lastModifiedBy>
  <cp:revision>12</cp:revision>
  <dcterms:created xsi:type="dcterms:W3CDTF">2018-11-08T00:29:22Z</dcterms:created>
  <dcterms:modified xsi:type="dcterms:W3CDTF">2019-05-28T13:05:42Z</dcterms:modified>
  <cp:category>Microsoft Ignite Tour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D9FAF4CD5AD2F4B99B5B2414089ABF7</vt:lpwstr>
  </property>
  <property fmtid="{D5CDD505-2E9C-101B-9397-08002B2CF9AE}" pid="3" name="Product">
    <vt:lpwstr/>
  </property>
  <property fmtid="{D5CDD505-2E9C-101B-9397-08002B2CF9AE}" pid="4" name="Event1">
    <vt:lpwstr>622;#Unassigned|2c8af875-f38a-40b8-a0a9-056aed3fc8c0</vt:lpwstr>
  </property>
  <property fmtid="{D5CDD505-2E9C-101B-9397-08002B2CF9AE}" pid="5" name="Audience">
    <vt:lpwstr/>
  </property>
  <property fmtid="{D5CDD505-2E9C-101B-9397-08002B2CF9AE}" pid="6" name="Event Venue">
    <vt:lpwstr/>
  </property>
  <property fmtid="{D5CDD505-2E9C-101B-9397-08002B2CF9AE}" pid="7" name="Track">
    <vt:lpwstr/>
  </property>
  <property fmtid="{D5CDD505-2E9C-101B-9397-08002B2CF9AE}" pid="8" name="Event Location">
    <vt:lpwstr/>
  </property>
  <property fmtid="{D5CDD505-2E9C-101B-9397-08002B2CF9AE}" pid="9" name="Campaign">
    <vt:lpwstr/>
  </property>
  <property fmtid="{D5CDD505-2E9C-101B-9397-08002B2CF9AE}" pid="10" name="IsMyDocuments">
    <vt:bool>true</vt:bool>
  </property>
  <property fmtid="{D5CDD505-2E9C-101B-9397-08002B2CF9AE}" pid="11" name="MSIP_Label_f42aa342-8706-4288-bd11-ebb85995028c_Enabled">
    <vt:lpwstr>True</vt:lpwstr>
  </property>
  <property fmtid="{D5CDD505-2E9C-101B-9397-08002B2CF9AE}" pid="12" name="MSIP_Label_f42aa342-8706-4288-bd11-ebb85995028c_SiteId">
    <vt:lpwstr>72f988bf-86f1-41af-91ab-2d7cd011db47</vt:lpwstr>
  </property>
  <property fmtid="{D5CDD505-2E9C-101B-9397-08002B2CF9AE}" pid="13" name="MSIP_Label_f42aa342-8706-4288-bd11-ebb85995028c_Ref">
    <vt:lpwstr>https://api.informationprotection.azure.com/api/72f988bf-86f1-41af-91ab-2d7cd011db47</vt:lpwstr>
  </property>
  <property fmtid="{D5CDD505-2E9C-101B-9397-08002B2CF9AE}" pid="14" name="MSIP_Label_f42aa342-8706-4288-bd11-ebb85995028c_Owner">
    <vt:lpwstr>maryfj@microsoft.com</vt:lpwstr>
  </property>
  <property fmtid="{D5CDD505-2E9C-101B-9397-08002B2CF9AE}" pid="15" name="MSIP_Label_f42aa342-8706-4288-bd11-ebb85995028c_SetDate">
    <vt:lpwstr>2017-08-29T14:27:20.8568347-07:00</vt:lpwstr>
  </property>
  <property fmtid="{D5CDD505-2E9C-101B-9397-08002B2CF9AE}" pid="16" name="MSIP_Label_f42aa342-8706-4288-bd11-ebb85995028c_Name">
    <vt:lpwstr>General</vt:lpwstr>
  </property>
  <property fmtid="{D5CDD505-2E9C-101B-9397-08002B2CF9AE}" pid="17" name="MSIP_Label_f42aa342-8706-4288-bd11-ebb85995028c_Application">
    <vt:lpwstr>Microsoft Azure Information Protection</vt:lpwstr>
  </property>
  <property fmtid="{D5CDD505-2E9C-101B-9397-08002B2CF9AE}" pid="18" name="MSIP_Label_f42aa342-8706-4288-bd11-ebb85995028c_Extended_MSFT_Method">
    <vt:lpwstr>Automatic</vt:lpwstr>
  </property>
  <property fmtid="{D5CDD505-2E9C-101B-9397-08002B2CF9AE}" pid="19" name="Sensitivity">
    <vt:lpwstr>General</vt:lpwstr>
  </property>
</Properties>
</file>